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2"/>
  </p:notesMasterIdLst>
  <p:sldIdLst>
    <p:sldId id="1722" r:id="rId4"/>
    <p:sldId id="4642" r:id="rId5"/>
    <p:sldId id="1731" r:id="rId6"/>
    <p:sldId id="1635" r:id="rId7"/>
    <p:sldId id="2260" r:id="rId8"/>
    <p:sldId id="2261" r:id="rId9"/>
    <p:sldId id="4894" r:id="rId10"/>
    <p:sldId id="4895" r:id="rId11"/>
    <p:sldId id="4896" r:id="rId12"/>
    <p:sldId id="1726" r:id="rId13"/>
    <p:sldId id="4627" r:id="rId14"/>
    <p:sldId id="1728" r:id="rId15"/>
    <p:sldId id="4898" r:id="rId16"/>
    <p:sldId id="2262" r:id="rId17"/>
    <p:sldId id="4899" r:id="rId18"/>
    <p:sldId id="2263" r:id="rId19"/>
    <p:sldId id="4671" r:id="rId20"/>
    <p:sldId id="2272" r:id="rId21"/>
    <p:sldId id="2274" r:id="rId22"/>
    <p:sldId id="2276" r:id="rId23"/>
    <p:sldId id="4643" r:id="rId24"/>
    <p:sldId id="1482" r:id="rId25"/>
    <p:sldId id="1091" r:id="rId26"/>
    <p:sldId id="4903" r:id="rId27"/>
    <p:sldId id="4904" r:id="rId28"/>
    <p:sldId id="4905" r:id="rId29"/>
    <p:sldId id="4906" r:id="rId30"/>
    <p:sldId id="4907" r:id="rId31"/>
    <p:sldId id="4908" r:id="rId32"/>
    <p:sldId id="4909" r:id="rId33"/>
    <p:sldId id="4900" r:id="rId34"/>
    <p:sldId id="4901" r:id="rId35"/>
    <p:sldId id="2388" r:id="rId36"/>
    <p:sldId id="4916" r:id="rId37"/>
    <p:sldId id="4917" r:id="rId38"/>
    <p:sldId id="4589" r:id="rId39"/>
    <p:sldId id="4902" r:id="rId40"/>
    <p:sldId id="4918" r:id="rId41"/>
  </p:sldIdLst>
  <p:sldSz cx="12192000" cy="6858000"/>
  <p:notesSz cx="6858000" cy="91440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Calibri Light" panose="020F0302020204030204" pitchFamily="34" charset="0"/>
      <p:regular r:id="rId47"/>
      <p:italic r:id="rId48"/>
    </p:embeddedFont>
  </p:embeddedFontLst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66" d="100"/>
          <a:sy n="66" d="100"/>
        </p:scale>
        <p:origin x="930" y="7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QI$1</c:f>
              <c:strCache>
                <c:ptCount val="44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4.II.22</c:v>
                </c:pt>
                <c:pt idx="410">
                  <c:v>15.II.22</c:v>
                </c:pt>
                <c:pt idx="411">
                  <c:v>16.II.22</c:v>
                </c:pt>
                <c:pt idx="412">
                  <c:v>17.II.22</c:v>
                </c:pt>
                <c:pt idx="413">
                  <c:v>18.II.22</c:v>
                </c:pt>
                <c:pt idx="414">
                  <c:v>19.II.22</c:v>
                </c:pt>
                <c:pt idx="415">
                  <c:v>21.II.22</c:v>
                </c:pt>
                <c:pt idx="416">
                  <c:v>22.II.22</c:v>
                </c:pt>
                <c:pt idx="417">
                  <c:v>23.II.22</c:v>
                </c:pt>
                <c:pt idx="418">
                  <c:v>24.II.22</c:v>
                </c:pt>
                <c:pt idx="419">
                  <c:v>25.II.22</c:v>
                </c:pt>
                <c:pt idx="420">
                  <c:v>28.II.22</c:v>
                </c:pt>
                <c:pt idx="421">
                  <c:v>1.III.22</c:v>
                </c:pt>
                <c:pt idx="422">
                  <c:v>2.III.22</c:v>
                </c:pt>
                <c:pt idx="423">
                  <c:v>3.III.22</c:v>
                </c:pt>
                <c:pt idx="424">
                  <c:v>4.III.22</c:v>
                </c:pt>
                <c:pt idx="425">
                  <c:v>5.III.22</c:v>
                </c:pt>
                <c:pt idx="426">
                  <c:v>7.III.22</c:v>
                </c:pt>
                <c:pt idx="427">
                  <c:v>8.III.22</c:v>
                </c:pt>
                <c:pt idx="428">
                  <c:v>9.III.22</c:v>
                </c:pt>
                <c:pt idx="429">
                  <c:v>10.III.22</c:v>
                </c:pt>
                <c:pt idx="430">
                  <c:v>11.III.22</c:v>
                </c:pt>
                <c:pt idx="431">
                  <c:v>12.III.22</c:v>
                </c:pt>
                <c:pt idx="432">
                  <c:v>14.III.22</c:v>
                </c:pt>
                <c:pt idx="433">
                  <c:v>15.III.22</c:v>
                </c:pt>
                <c:pt idx="434">
                  <c:v>16.III.22</c:v>
                </c:pt>
                <c:pt idx="435">
                  <c:v>17.III.22</c:v>
                </c:pt>
                <c:pt idx="436">
                  <c:v>18.III.22</c:v>
                </c:pt>
                <c:pt idx="437">
                  <c:v>21.III.22</c:v>
                </c:pt>
                <c:pt idx="438">
                  <c:v>22.III.22</c:v>
                </c:pt>
                <c:pt idx="439">
                  <c:v>23.III.22</c:v>
                </c:pt>
                <c:pt idx="440">
                  <c:v>24.III.22</c:v>
                </c:pt>
                <c:pt idx="441">
                  <c:v>25.III.22</c:v>
                </c:pt>
              </c:strCache>
            </c:strRef>
          </c:cat>
          <c:val>
            <c:numRef>
              <c:f>List1!$J$2:$QI$2</c:f>
              <c:numCache>
                <c:formatCode>General</c:formatCode>
                <c:ptCount val="442"/>
                <c:pt idx="0">
                  <c:v>2942</c:v>
                </c:pt>
                <c:pt idx="1">
                  <c:v>5608</c:v>
                </c:pt>
                <c:pt idx="2">
                  <c:v>8311</c:v>
                </c:pt>
                <c:pt idx="3">
                  <c:v>9201</c:v>
                </c:pt>
                <c:pt idx="4">
                  <c:v>9437</c:v>
                </c:pt>
                <c:pt idx="5">
                  <c:v>10596</c:v>
                </c:pt>
                <c:pt idx="6">
                  <c:v>11438</c:v>
                </c:pt>
                <c:pt idx="7">
                  <c:v>14604</c:v>
                </c:pt>
                <c:pt idx="8">
                  <c:v>18521</c:v>
                </c:pt>
                <c:pt idx="9">
                  <c:v>23449</c:v>
                </c:pt>
                <c:pt idx="10">
                  <c:v>29279</c:v>
                </c:pt>
                <c:pt idx="11">
                  <c:v>36063</c:v>
                </c:pt>
                <c:pt idx="12">
                  <c:v>37226</c:v>
                </c:pt>
                <c:pt idx="13">
                  <c:v>38184</c:v>
                </c:pt>
                <c:pt idx="14">
                  <c:v>44591</c:v>
                </c:pt>
                <c:pt idx="15">
                  <c:v>52007</c:v>
                </c:pt>
                <c:pt idx="16">
                  <c:v>58613</c:v>
                </c:pt>
                <c:pt idx="17">
                  <c:v>65595</c:v>
                </c:pt>
                <c:pt idx="18">
                  <c:v>71786</c:v>
                </c:pt>
                <c:pt idx="19">
                  <c:v>72722</c:v>
                </c:pt>
                <c:pt idx="20">
                  <c:v>73270</c:v>
                </c:pt>
                <c:pt idx="21">
                  <c:v>77954</c:v>
                </c:pt>
                <c:pt idx="22">
                  <c:v>81752</c:v>
                </c:pt>
                <c:pt idx="23">
                  <c:v>85472</c:v>
                </c:pt>
                <c:pt idx="24">
                  <c:v>88858</c:v>
                </c:pt>
                <c:pt idx="25">
                  <c:v>91750</c:v>
                </c:pt>
                <c:pt idx="26">
                  <c:v>92138</c:v>
                </c:pt>
                <c:pt idx="27">
                  <c:v>92374</c:v>
                </c:pt>
                <c:pt idx="28">
                  <c:v>93982</c:v>
                </c:pt>
                <c:pt idx="29">
                  <c:v>95747</c:v>
                </c:pt>
                <c:pt idx="30">
                  <c:v>97195</c:v>
                </c:pt>
                <c:pt idx="31">
                  <c:v>98582</c:v>
                </c:pt>
                <c:pt idx="32">
                  <c:v>99862</c:v>
                </c:pt>
                <c:pt idx="33">
                  <c:v>99933</c:v>
                </c:pt>
                <c:pt idx="34">
                  <c:v>100004</c:v>
                </c:pt>
                <c:pt idx="35">
                  <c:v>100897</c:v>
                </c:pt>
                <c:pt idx="36">
                  <c:v>101765</c:v>
                </c:pt>
                <c:pt idx="37">
                  <c:v>102581</c:v>
                </c:pt>
                <c:pt idx="38">
                  <c:v>103289</c:v>
                </c:pt>
                <c:pt idx="39">
                  <c:v>104217</c:v>
                </c:pt>
                <c:pt idx="40">
                  <c:v>104268</c:v>
                </c:pt>
                <c:pt idx="41">
                  <c:v>104319</c:v>
                </c:pt>
                <c:pt idx="42">
                  <c:v>104959</c:v>
                </c:pt>
                <c:pt idx="43">
                  <c:v>105614</c:v>
                </c:pt>
                <c:pt idx="44">
                  <c:v>106478</c:v>
                </c:pt>
                <c:pt idx="45">
                  <c:v>107532</c:v>
                </c:pt>
                <c:pt idx="46">
                  <c:v>108734</c:v>
                </c:pt>
                <c:pt idx="47">
                  <c:v>109119</c:v>
                </c:pt>
                <c:pt idx="48">
                  <c:v>109303</c:v>
                </c:pt>
                <c:pt idx="49">
                  <c:v>110625</c:v>
                </c:pt>
                <c:pt idx="50">
                  <c:v>111916</c:v>
                </c:pt>
                <c:pt idx="51">
                  <c:v>113293</c:v>
                </c:pt>
                <c:pt idx="52">
                  <c:v>114857</c:v>
                </c:pt>
                <c:pt idx="53">
                  <c:v>116714</c:v>
                </c:pt>
                <c:pt idx="54">
                  <c:v>117175</c:v>
                </c:pt>
                <c:pt idx="55">
                  <c:v>117338</c:v>
                </c:pt>
                <c:pt idx="56">
                  <c:v>118929</c:v>
                </c:pt>
                <c:pt idx="57">
                  <c:v>121222</c:v>
                </c:pt>
                <c:pt idx="58">
                  <c:v>123723</c:v>
                </c:pt>
                <c:pt idx="59">
                  <c:v>126754</c:v>
                </c:pt>
                <c:pt idx="60">
                  <c:v>129359</c:v>
                </c:pt>
                <c:pt idx="61">
                  <c:v>129666</c:v>
                </c:pt>
                <c:pt idx="62">
                  <c:v>129887</c:v>
                </c:pt>
                <c:pt idx="63">
                  <c:v>132434</c:v>
                </c:pt>
                <c:pt idx="64">
                  <c:v>135190</c:v>
                </c:pt>
                <c:pt idx="65">
                  <c:v>137859</c:v>
                </c:pt>
                <c:pt idx="66">
                  <c:v>140314</c:v>
                </c:pt>
                <c:pt idx="67">
                  <c:v>143280</c:v>
                </c:pt>
                <c:pt idx="68">
                  <c:v>143987</c:v>
                </c:pt>
                <c:pt idx="69">
                  <c:v>144502</c:v>
                </c:pt>
                <c:pt idx="70">
                  <c:v>146450</c:v>
                </c:pt>
                <c:pt idx="71">
                  <c:v>148596</c:v>
                </c:pt>
                <c:pt idx="72">
                  <c:v>150844</c:v>
                </c:pt>
                <c:pt idx="73">
                  <c:v>153845</c:v>
                </c:pt>
                <c:pt idx="74">
                  <c:v>156465</c:v>
                </c:pt>
                <c:pt idx="75">
                  <c:v>157123</c:v>
                </c:pt>
                <c:pt idx="76">
                  <c:v>157692</c:v>
                </c:pt>
                <c:pt idx="77">
                  <c:v>159279</c:v>
                </c:pt>
                <c:pt idx="78">
                  <c:v>161610</c:v>
                </c:pt>
                <c:pt idx="79">
                  <c:v>163925</c:v>
                </c:pt>
                <c:pt idx="80">
                  <c:v>165953</c:v>
                </c:pt>
                <c:pt idx="81">
                  <c:v>168214</c:v>
                </c:pt>
                <c:pt idx="82">
                  <c:v>169089</c:v>
                </c:pt>
                <c:pt idx="83">
                  <c:v>169536</c:v>
                </c:pt>
                <c:pt idx="84">
                  <c:v>170689</c:v>
                </c:pt>
                <c:pt idx="85">
                  <c:v>171927</c:v>
                </c:pt>
                <c:pt idx="86">
                  <c:v>172996</c:v>
                </c:pt>
                <c:pt idx="87">
                  <c:v>174292</c:v>
                </c:pt>
                <c:pt idx="88">
                  <c:v>175670</c:v>
                </c:pt>
                <c:pt idx="89">
                  <c:v>176044</c:v>
                </c:pt>
                <c:pt idx="90">
                  <c:v>176388</c:v>
                </c:pt>
                <c:pt idx="91">
                  <c:v>177171</c:v>
                </c:pt>
                <c:pt idx="92">
                  <c:v>178200</c:v>
                </c:pt>
                <c:pt idx="93">
                  <c:v>179321</c:v>
                </c:pt>
                <c:pt idx="94">
                  <c:v>180425</c:v>
                </c:pt>
                <c:pt idx="95">
                  <c:v>180693</c:v>
                </c:pt>
                <c:pt idx="96">
                  <c:v>180813</c:v>
                </c:pt>
                <c:pt idx="97">
                  <c:v>180928</c:v>
                </c:pt>
                <c:pt idx="98">
                  <c:v>181000</c:v>
                </c:pt>
                <c:pt idx="99">
                  <c:v>181564</c:v>
                </c:pt>
                <c:pt idx="100">
                  <c:v>182238</c:v>
                </c:pt>
                <c:pt idx="101">
                  <c:v>183484</c:v>
                </c:pt>
                <c:pt idx="102">
                  <c:v>184761</c:v>
                </c:pt>
                <c:pt idx="103">
                  <c:v>185138</c:v>
                </c:pt>
                <c:pt idx="104">
                  <c:v>185388</c:v>
                </c:pt>
                <c:pt idx="105">
                  <c:v>186328</c:v>
                </c:pt>
                <c:pt idx="106">
                  <c:v>187143</c:v>
                </c:pt>
                <c:pt idx="107">
                  <c:v>188087</c:v>
                </c:pt>
                <c:pt idx="108">
                  <c:v>189455</c:v>
                </c:pt>
                <c:pt idx="109">
                  <c:v>191003</c:v>
                </c:pt>
                <c:pt idx="110">
                  <c:v>191426</c:v>
                </c:pt>
                <c:pt idx="111">
                  <c:v>191867</c:v>
                </c:pt>
                <c:pt idx="112">
                  <c:v>192974</c:v>
                </c:pt>
                <c:pt idx="113">
                  <c:v>194023</c:v>
                </c:pt>
                <c:pt idx="114">
                  <c:v>195315</c:v>
                </c:pt>
                <c:pt idx="115">
                  <c:v>196786</c:v>
                </c:pt>
                <c:pt idx="116">
                  <c:v>198301</c:v>
                </c:pt>
                <c:pt idx="117">
                  <c:v>198741</c:v>
                </c:pt>
                <c:pt idx="118">
                  <c:v>199115</c:v>
                </c:pt>
                <c:pt idx="119">
                  <c:v>200312</c:v>
                </c:pt>
                <c:pt idx="120">
                  <c:v>201402</c:v>
                </c:pt>
                <c:pt idx="121">
                  <c:v>202790</c:v>
                </c:pt>
                <c:pt idx="122">
                  <c:v>204266</c:v>
                </c:pt>
                <c:pt idx="123">
                  <c:v>205670</c:v>
                </c:pt>
                <c:pt idx="124">
                  <c:v>206007</c:v>
                </c:pt>
                <c:pt idx="125">
                  <c:v>206344</c:v>
                </c:pt>
                <c:pt idx="126">
                  <c:v>207427</c:v>
                </c:pt>
                <c:pt idx="127">
                  <c:v>208533</c:v>
                </c:pt>
                <c:pt idx="128">
                  <c:v>209681</c:v>
                </c:pt>
                <c:pt idx="129">
                  <c:v>210878</c:v>
                </c:pt>
                <c:pt idx="130">
                  <c:v>212184</c:v>
                </c:pt>
                <c:pt idx="131">
                  <c:v>212686</c:v>
                </c:pt>
                <c:pt idx="132">
                  <c:v>212995</c:v>
                </c:pt>
                <c:pt idx="133">
                  <c:v>213967</c:v>
                </c:pt>
                <c:pt idx="134">
                  <c:v>214995</c:v>
                </c:pt>
                <c:pt idx="135">
                  <c:v>216035</c:v>
                </c:pt>
                <c:pt idx="136">
                  <c:v>217177</c:v>
                </c:pt>
                <c:pt idx="137">
                  <c:v>218181</c:v>
                </c:pt>
                <c:pt idx="138">
                  <c:v>218623</c:v>
                </c:pt>
                <c:pt idx="139">
                  <c:v>218909</c:v>
                </c:pt>
                <c:pt idx="140">
                  <c:v>219697</c:v>
                </c:pt>
                <c:pt idx="141">
                  <c:v>220580</c:v>
                </c:pt>
                <c:pt idx="142">
                  <c:v>221490</c:v>
                </c:pt>
                <c:pt idx="143">
                  <c:v>222428</c:v>
                </c:pt>
                <c:pt idx="144">
                  <c:v>223357</c:v>
                </c:pt>
                <c:pt idx="145">
                  <c:v>223710</c:v>
                </c:pt>
                <c:pt idx="146">
                  <c:v>223939</c:v>
                </c:pt>
                <c:pt idx="147">
                  <c:v>224492</c:v>
                </c:pt>
                <c:pt idx="148">
                  <c:v>225121</c:v>
                </c:pt>
                <c:pt idx="149">
                  <c:v>225975</c:v>
                </c:pt>
                <c:pt idx="150">
                  <c:v>226757</c:v>
                </c:pt>
                <c:pt idx="151">
                  <c:v>227586</c:v>
                </c:pt>
                <c:pt idx="152">
                  <c:v>227953</c:v>
                </c:pt>
                <c:pt idx="153">
                  <c:v>228242</c:v>
                </c:pt>
                <c:pt idx="154">
                  <c:v>228938</c:v>
                </c:pt>
                <c:pt idx="155">
                  <c:v>229660</c:v>
                </c:pt>
                <c:pt idx="156">
                  <c:v>230550</c:v>
                </c:pt>
                <c:pt idx="157">
                  <c:v>231391</c:v>
                </c:pt>
                <c:pt idx="158">
                  <c:v>232282</c:v>
                </c:pt>
                <c:pt idx="159">
                  <c:v>232707</c:v>
                </c:pt>
                <c:pt idx="160">
                  <c:v>233113</c:v>
                </c:pt>
                <c:pt idx="161">
                  <c:v>234009</c:v>
                </c:pt>
                <c:pt idx="162">
                  <c:v>234995</c:v>
                </c:pt>
                <c:pt idx="163">
                  <c:v>235921</c:v>
                </c:pt>
                <c:pt idx="164">
                  <c:v>236802</c:v>
                </c:pt>
                <c:pt idx="165">
                  <c:v>237661</c:v>
                </c:pt>
                <c:pt idx="166">
                  <c:v>238191</c:v>
                </c:pt>
                <c:pt idx="167">
                  <c:v>238566</c:v>
                </c:pt>
                <c:pt idx="168">
                  <c:v>239236</c:v>
                </c:pt>
                <c:pt idx="169">
                  <c:v>240000</c:v>
                </c:pt>
                <c:pt idx="170">
                  <c:v>240705</c:v>
                </c:pt>
                <c:pt idx="171">
                  <c:v>241422</c:v>
                </c:pt>
                <c:pt idx="172">
                  <c:v>242099</c:v>
                </c:pt>
                <c:pt idx="173">
                  <c:v>242436</c:v>
                </c:pt>
                <c:pt idx="174">
                  <c:v>242697</c:v>
                </c:pt>
                <c:pt idx="175">
                  <c:v>243211</c:v>
                </c:pt>
                <c:pt idx="176">
                  <c:v>243801</c:v>
                </c:pt>
                <c:pt idx="177">
                  <c:v>244300</c:v>
                </c:pt>
                <c:pt idx="178">
                  <c:v>244803</c:v>
                </c:pt>
                <c:pt idx="179">
                  <c:v>245306</c:v>
                </c:pt>
                <c:pt idx="180">
                  <c:v>245563</c:v>
                </c:pt>
                <c:pt idx="181">
                  <c:v>245756</c:v>
                </c:pt>
                <c:pt idx="182">
                  <c:v>246254</c:v>
                </c:pt>
                <c:pt idx="183">
                  <c:v>246716</c:v>
                </c:pt>
                <c:pt idx="184">
                  <c:v>247200</c:v>
                </c:pt>
                <c:pt idx="185">
                  <c:v>247564</c:v>
                </c:pt>
                <c:pt idx="186">
                  <c:v>248050</c:v>
                </c:pt>
                <c:pt idx="187">
                  <c:v>248148</c:v>
                </c:pt>
                <c:pt idx="188">
                  <c:v>248266</c:v>
                </c:pt>
                <c:pt idx="189">
                  <c:v>248379</c:v>
                </c:pt>
                <c:pt idx="190">
                  <c:v>248480</c:v>
                </c:pt>
                <c:pt idx="191">
                  <c:v>248893</c:v>
                </c:pt>
                <c:pt idx="192">
                  <c:v>249344</c:v>
                </c:pt>
                <c:pt idx="193">
                  <c:v>249790</c:v>
                </c:pt>
                <c:pt idx="194">
                  <c:v>249958</c:v>
                </c:pt>
                <c:pt idx="195">
                  <c:v>250079</c:v>
                </c:pt>
                <c:pt idx="196">
                  <c:v>250525</c:v>
                </c:pt>
                <c:pt idx="197">
                  <c:v>250973</c:v>
                </c:pt>
                <c:pt idx="198">
                  <c:v>251463</c:v>
                </c:pt>
                <c:pt idx="199">
                  <c:v>251963</c:v>
                </c:pt>
                <c:pt idx="200">
                  <c:v>252452</c:v>
                </c:pt>
                <c:pt idx="201">
                  <c:v>252634</c:v>
                </c:pt>
                <c:pt idx="202">
                  <c:v>252781</c:v>
                </c:pt>
                <c:pt idx="203">
                  <c:v>253204</c:v>
                </c:pt>
                <c:pt idx="204">
                  <c:v>253559</c:v>
                </c:pt>
                <c:pt idx="205">
                  <c:v>254029</c:v>
                </c:pt>
                <c:pt idx="206">
                  <c:v>254424</c:v>
                </c:pt>
                <c:pt idx="207">
                  <c:v>254817</c:v>
                </c:pt>
                <c:pt idx="208">
                  <c:v>254928</c:v>
                </c:pt>
                <c:pt idx="209">
                  <c:v>255018</c:v>
                </c:pt>
                <c:pt idx="210">
                  <c:v>255409</c:v>
                </c:pt>
                <c:pt idx="211">
                  <c:v>255829</c:v>
                </c:pt>
                <c:pt idx="212">
                  <c:v>256192</c:v>
                </c:pt>
                <c:pt idx="213">
                  <c:v>256529</c:v>
                </c:pt>
                <c:pt idx="214">
                  <c:v>256949</c:v>
                </c:pt>
                <c:pt idx="215">
                  <c:v>257071</c:v>
                </c:pt>
                <c:pt idx="216">
                  <c:v>257174</c:v>
                </c:pt>
                <c:pt idx="217">
                  <c:v>257457</c:v>
                </c:pt>
                <c:pt idx="218">
                  <c:v>257725</c:v>
                </c:pt>
                <c:pt idx="219">
                  <c:v>258039</c:v>
                </c:pt>
                <c:pt idx="220">
                  <c:v>258305</c:v>
                </c:pt>
                <c:pt idx="221">
                  <c:v>258586</c:v>
                </c:pt>
                <c:pt idx="222">
                  <c:v>258659</c:v>
                </c:pt>
                <c:pt idx="223">
                  <c:v>258723</c:v>
                </c:pt>
                <c:pt idx="224">
                  <c:v>258934</c:v>
                </c:pt>
                <c:pt idx="225">
                  <c:v>259144</c:v>
                </c:pt>
                <c:pt idx="226">
                  <c:v>259306</c:v>
                </c:pt>
                <c:pt idx="227">
                  <c:v>259540</c:v>
                </c:pt>
                <c:pt idx="228">
                  <c:v>259732</c:v>
                </c:pt>
                <c:pt idx="229">
                  <c:v>259789</c:v>
                </c:pt>
                <c:pt idx="230">
                  <c:v>259835</c:v>
                </c:pt>
                <c:pt idx="231">
                  <c:v>260016</c:v>
                </c:pt>
                <c:pt idx="232">
                  <c:v>260198</c:v>
                </c:pt>
                <c:pt idx="233">
                  <c:v>260366</c:v>
                </c:pt>
                <c:pt idx="234">
                  <c:v>260530</c:v>
                </c:pt>
                <c:pt idx="235">
                  <c:v>260776</c:v>
                </c:pt>
                <c:pt idx="236">
                  <c:v>260818</c:v>
                </c:pt>
                <c:pt idx="237">
                  <c:v>260851</c:v>
                </c:pt>
                <c:pt idx="238">
                  <c:v>261053</c:v>
                </c:pt>
                <c:pt idx="239">
                  <c:v>261245</c:v>
                </c:pt>
                <c:pt idx="240">
                  <c:v>261412</c:v>
                </c:pt>
                <c:pt idx="241">
                  <c:v>261574</c:v>
                </c:pt>
                <c:pt idx="242">
                  <c:v>261794</c:v>
                </c:pt>
                <c:pt idx="243">
                  <c:v>261838</c:v>
                </c:pt>
                <c:pt idx="244">
                  <c:v>261871</c:v>
                </c:pt>
                <c:pt idx="245">
                  <c:v>262044</c:v>
                </c:pt>
                <c:pt idx="246">
                  <c:v>262209</c:v>
                </c:pt>
                <c:pt idx="247">
                  <c:v>262335</c:v>
                </c:pt>
                <c:pt idx="248">
                  <c:v>262510</c:v>
                </c:pt>
                <c:pt idx="249">
                  <c:v>262705</c:v>
                </c:pt>
                <c:pt idx="250">
                  <c:v>262740</c:v>
                </c:pt>
                <c:pt idx="251">
                  <c:v>262773</c:v>
                </c:pt>
                <c:pt idx="252">
                  <c:v>262909</c:v>
                </c:pt>
                <c:pt idx="253">
                  <c:v>262999</c:v>
                </c:pt>
                <c:pt idx="254">
                  <c:v>263122</c:v>
                </c:pt>
                <c:pt idx="255">
                  <c:v>263265</c:v>
                </c:pt>
                <c:pt idx="256">
                  <c:v>263411</c:v>
                </c:pt>
                <c:pt idx="257">
                  <c:v>263446</c:v>
                </c:pt>
                <c:pt idx="258">
                  <c:v>263469</c:v>
                </c:pt>
                <c:pt idx="259">
                  <c:v>263580</c:v>
                </c:pt>
                <c:pt idx="260">
                  <c:v>263712</c:v>
                </c:pt>
                <c:pt idx="261">
                  <c:v>263819</c:v>
                </c:pt>
                <c:pt idx="262">
                  <c:v>263940</c:v>
                </c:pt>
                <c:pt idx="263">
                  <c:v>264104</c:v>
                </c:pt>
                <c:pt idx="264">
                  <c:v>264145</c:v>
                </c:pt>
                <c:pt idx="265">
                  <c:v>264158</c:v>
                </c:pt>
                <c:pt idx="266">
                  <c:v>264261</c:v>
                </c:pt>
                <c:pt idx="267">
                  <c:v>264365</c:v>
                </c:pt>
                <c:pt idx="268">
                  <c:v>264463</c:v>
                </c:pt>
                <c:pt idx="269">
                  <c:v>264597</c:v>
                </c:pt>
                <c:pt idx="270">
                  <c:v>264763</c:v>
                </c:pt>
                <c:pt idx="271">
                  <c:v>264795</c:v>
                </c:pt>
                <c:pt idx="272">
                  <c:v>264805</c:v>
                </c:pt>
                <c:pt idx="273">
                  <c:v>264902</c:v>
                </c:pt>
                <c:pt idx="274">
                  <c:v>264910</c:v>
                </c:pt>
                <c:pt idx="275">
                  <c:v>264994</c:v>
                </c:pt>
                <c:pt idx="276">
                  <c:v>265094</c:v>
                </c:pt>
                <c:pt idx="277">
                  <c:v>265187</c:v>
                </c:pt>
                <c:pt idx="278">
                  <c:v>265208</c:v>
                </c:pt>
                <c:pt idx="279">
                  <c:v>265222</c:v>
                </c:pt>
                <c:pt idx="280">
                  <c:v>265289</c:v>
                </c:pt>
                <c:pt idx="281">
                  <c:v>265372</c:v>
                </c:pt>
                <c:pt idx="282">
                  <c:v>265471</c:v>
                </c:pt>
                <c:pt idx="283">
                  <c:v>265541</c:v>
                </c:pt>
                <c:pt idx="284">
                  <c:v>265653</c:v>
                </c:pt>
                <c:pt idx="285">
                  <c:v>265678</c:v>
                </c:pt>
                <c:pt idx="286">
                  <c:v>265690</c:v>
                </c:pt>
                <c:pt idx="287">
                  <c:v>265766</c:v>
                </c:pt>
                <c:pt idx="288">
                  <c:v>265851</c:v>
                </c:pt>
                <c:pt idx="289">
                  <c:v>265932</c:v>
                </c:pt>
                <c:pt idx="290">
                  <c:v>266001</c:v>
                </c:pt>
                <c:pt idx="291">
                  <c:v>266122</c:v>
                </c:pt>
                <c:pt idx="292">
                  <c:v>266153</c:v>
                </c:pt>
                <c:pt idx="293">
                  <c:v>266183</c:v>
                </c:pt>
                <c:pt idx="294">
                  <c:v>266314</c:v>
                </c:pt>
                <c:pt idx="295">
                  <c:v>266409</c:v>
                </c:pt>
                <c:pt idx="296">
                  <c:v>266540</c:v>
                </c:pt>
                <c:pt idx="297">
                  <c:v>266779</c:v>
                </c:pt>
                <c:pt idx="298">
                  <c:v>267086</c:v>
                </c:pt>
                <c:pt idx="299">
                  <c:v>267169</c:v>
                </c:pt>
                <c:pt idx="300">
                  <c:v>267233</c:v>
                </c:pt>
                <c:pt idx="301">
                  <c:v>267495</c:v>
                </c:pt>
                <c:pt idx="302">
                  <c:v>267857</c:v>
                </c:pt>
                <c:pt idx="303">
                  <c:v>268276</c:v>
                </c:pt>
                <c:pt idx="304">
                  <c:v>268360</c:v>
                </c:pt>
                <c:pt idx="305">
                  <c:v>268739</c:v>
                </c:pt>
                <c:pt idx="306">
                  <c:v>268847</c:v>
                </c:pt>
                <c:pt idx="307">
                  <c:v>268917</c:v>
                </c:pt>
                <c:pt idx="308">
                  <c:v>269333</c:v>
                </c:pt>
                <c:pt idx="309">
                  <c:v>269751</c:v>
                </c:pt>
                <c:pt idx="310">
                  <c:v>270168</c:v>
                </c:pt>
                <c:pt idx="311">
                  <c:v>270667</c:v>
                </c:pt>
                <c:pt idx="312">
                  <c:v>271230</c:v>
                </c:pt>
                <c:pt idx="313">
                  <c:v>271385</c:v>
                </c:pt>
                <c:pt idx="314">
                  <c:v>271479</c:v>
                </c:pt>
                <c:pt idx="315">
                  <c:v>271878</c:v>
                </c:pt>
                <c:pt idx="316">
                  <c:v>272218</c:v>
                </c:pt>
                <c:pt idx="317">
                  <c:v>272603</c:v>
                </c:pt>
                <c:pt idx="318">
                  <c:v>273002</c:v>
                </c:pt>
                <c:pt idx="319">
                  <c:v>273537</c:v>
                </c:pt>
                <c:pt idx="320">
                  <c:v>273661</c:v>
                </c:pt>
                <c:pt idx="321">
                  <c:v>273747</c:v>
                </c:pt>
                <c:pt idx="322">
                  <c:v>274167</c:v>
                </c:pt>
                <c:pt idx="323">
                  <c:v>274635</c:v>
                </c:pt>
                <c:pt idx="324">
                  <c:v>274739</c:v>
                </c:pt>
                <c:pt idx="325">
                  <c:v>275248</c:v>
                </c:pt>
                <c:pt idx="326">
                  <c:v>275871</c:v>
                </c:pt>
                <c:pt idx="327">
                  <c:v>276067</c:v>
                </c:pt>
                <c:pt idx="328">
                  <c:v>276209</c:v>
                </c:pt>
                <c:pt idx="329">
                  <c:v>276630</c:v>
                </c:pt>
                <c:pt idx="330">
                  <c:v>277051</c:v>
                </c:pt>
                <c:pt idx="331">
                  <c:v>277512</c:v>
                </c:pt>
                <c:pt idx="332">
                  <c:v>277989</c:v>
                </c:pt>
                <c:pt idx="333">
                  <c:v>278506</c:v>
                </c:pt>
                <c:pt idx="334">
                  <c:v>278656</c:v>
                </c:pt>
                <c:pt idx="335">
                  <c:v>278707</c:v>
                </c:pt>
                <c:pt idx="336">
                  <c:v>279057</c:v>
                </c:pt>
                <c:pt idx="337">
                  <c:v>279391</c:v>
                </c:pt>
                <c:pt idx="338">
                  <c:v>279740</c:v>
                </c:pt>
                <c:pt idx="339">
                  <c:v>279994</c:v>
                </c:pt>
                <c:pt idx="340">
                  <c:v>280258</c:v>
                </c:pt>
                <c:pt idx="341">
                  <c:v>280311</c:v>
                </c:pt>
                <c:pt idx="342">
                  <c:v>280331</c:v>
                </c:pt>
                <c:pt idx="343">
                  <c:v>280521</c:v>
                </c:pt>
                <c:pt idx="344">
                  <c:v>280701</c:v>
                </c:pt>
                <c:pt idx="345">
                  <c:v>280910</c:v>
                </c:pt>
                <c:pt idx="346">
                  <c:v>281078</c:v>
                </c:pt>
                <c:pt idx="347">
                  <c:v>281266</c:v>
                </c:pt>
                <c:pt idx="348">
                  <c:v>281302</c:v>
                </c:pt>
                <c:pt idx="349">
                  <c:v>281328</c:v>
                </c:pt>
                <c:pt idx="350">
                  <c:v>281503</c:v>
                </c:pt>
                <c:pt idx="351">
                  <c:v>281649</c:v>
                </c:pt>
                <c:pt idx="352">
                  <c:v>281787</c:v>
                </c:pt>
                <c:pt idx="353">
                  <c:v>281959</c:v>
                </c:pt>
                <c:pt idx="354">
                  <c:v>282150</c:v>
                </c:pt>
                <c:pt idx="355">
                  <c:v>282205</c:v>
                </c:pt>
                <c:pt idx="356">
                  <c:v>282220</c:v>
                </c:pt>
                <c:pt idx="357">
                  <c:v>282343</c:v>
                </c:pt>
                <c:pt idx="358">
                  <c:v>282448</c:v>
                </c:pt>
                <c:pt idx="359">
                  <c:v>282538</c:v>
                </c:pt>
                <c:pt idx="360">
                  <c:v>282570</c:v>
                </c:pt>
                <c:pt idx="361">
                  <c:v>282571</c:v>
                </c:pt>
                <c:pt idx="362">
                  <c:v>282633</c:v>
                </c:pt>
                <c:pt idx="363">
                  <c:v>282703</c:v>
                </c:pt>
                <c:pt idx="364">
                  <c:v>282771</c:v>
                </c:pt>
                <c:pt idx="365">
                  <c:v>282844</c:v>
                </c:pt>
                <c:pt idx="366">
                  <c:v>282852</c:v>
                </c:pt>
                <c:pt idx="367">
                  <c:v>282859</c:v>
                </c:pt>
                <c:pt idx="368">
                  <c:v>282941</c:v>
                </c:pt>
                <c:pt idx="369">
                  <c:v>283020</c:v>
                </c:pt>
                <c:pt idx="370">
                  <c:v>283123</c:v>
                </c:pt>
                <c:pt idx="371">
                  <c:v>283238</c:v>
                </c:pt>
                <c:pt idx="372">
                  <c:v>283415</c:v>
                </c:pt>
                <c:pt idx="373">
                  <c:v>283437</c:v>
                </c:pt>
                <c:pt idx="374">
                  <c:v>283455</c:v>
                </c:pt>
                <c:pt idx="375">
                  <c:v>283541</c:v>
                </c:pt>
                <c:pt idx="376">
                  <c:v>283636</c:v>
                </c:pt>
                <c:pt idx="377">
                  <c:v>283743</c:v>
                </c:pt>
                <c:pt idx="378">
                  <c:v>283862</c:v>
                </c:pt>
                <c:pt idx="379">
                  <c:v>284018</c:v>
                </c:pt>
                <c:pt idx="380">
                  <c:v>284055</c:v>
                </c:pt>
                <c:pt idx="381">
                  <c:v>284071</c:v>
                </c:pt>
                <c:pt idx="382">
                  <c:v>284164</c:v>
                </c:pt>
                <c:pt idx="383">
                  <c:v>284269</c:v>
                </c:pt>
                <c:pt idx="384">
                  <c:v>284338</c:v>
                </c:pt>
                <c:pt idx="385">
                  <c:v>284400</c:v>
                </c:pt>
                <c:pt idx="386">
                  <c:v>284496</c:v>
                </c:pt>
                <c:pt idx="387">
                  <c:v>284504</c:v>
                </c:pt>
                <c:pt idx="388">
                  <c:v>284512</c:v>
                </c:pt>
                <c:pt idx="389">
                  <c:v>284552</c:v>
                </c:pt>
                <c:pt idx="390">
                  <c:v>284593</c:v>
                </c:pt>
                <c:pt idx="391">
                  <c:v>284637</c:v>
                </c:pt>
                <c:pt idx="392">
                  <c:v>284674</c:v>
                </c:pt>
                <c:pt idx="393">
                  <c:v>284737</c:v>
                </c:pt>
                <c:pt idx="394">
                  <c:v>284751</c:v>
                </c:pt>
                <c:pt idx="395">
                  <c:v>284754</c:v>
                </c:pt>
                <c:pt idx="396">
                  <c:v>284779</c:v>
                </c:pt>
                <c:pt idx="397">
                  <c:v>284799</c:v>
                </c:pt>
                <c:pt idx="398">
                  <c:v>284823</c:v>
                </c:pt>
                <c:pt idx="399">
                  <c:v>284844</c:v>
                </c:pt>
                <c:pt idx="400">
                  <c:v>284876</c:v>
                </c:pt>
                <c:pt idx="401">
                  <c:v>284878</c:v>
                </c:pt>
                <c:pt idx="402">
                  <c:v>284879</c:v>
                </c:pt>
                <c:pt idx="403">
                  <c:v>284893</c:v>
                </c:pt>
                <c:pt idx="404">
                  <c:v>284905</c:v>
                </c:pt>
                <c:pt idx="405">
                  <c:v>284915</c:v>
                </c:pt>
                <c:pt idx="406">
                  <c:v>284929</c:v>
                </c:pt>
                <c:pt idx="407">
                  <c:v>284953</c:v>
                </c:pt>
                <c:pt idx="408">
                  <c:v>284954</c:v>
                </c:pt>
                <c:pt idx="409">
                  <c:v>284960</c:v>
                </c:pt>
                <c:pt idx="410">
                  <c:v>284970</c:v>
                </c:pt>
                <c:pt idx="411">
                  <c:v>284977</c:v>
                </c:pt>
                <c:pt idx="412">
                  <c:v>284982</c:v>
                </c:pt>
                <c:pt idx="413">
                  <c:v>284986</c:v>
                </c:pt>
                <c:pt idx="414">
                  <c:v>284988</c:v>
                </c:pt>
                <c:pt idx="415">
                  <c:v>284995</c:v>
                </c:pt>
                <c:pt idx="416">
                  <c:v>284997</c:v>
                </c:pt>
                <c:pt idx="417">
                  <c:v>285000</c:v>
                </c:pt>
                <c:pt idx="418">
                  <c:v>285004</c:v>
                </c:pt>
                <c:pt idx="419">
                  <c:v>285012</c:v>
                </c:pt>
                <c:pt idx="420">
                  <c:v>285014</c:v>
                </c:pt>
                <c:pt idx="421">
                  <c:v>285021</c:v>
                </c:pt>
                <c:pt idx="422">
                  <c:v>285024</c:v>
                </c:pt>
                <c:pt idx="423">
                  <c:v>285028</c:v>
                </c:pt>
                <c:pt idx="424">
                  <c:v>285053</c:v>
                </c:pt>
                <c:pt idx="425">
                  <c:v>285056</c:v>
                </c:pt>
                <c:pt idx="426">
                  <c:v>285059</c:v>
                </c:pt>
                <c:pt idx="427">
                  <c:v>285065</c:v>
                </c:pt>
                <c:pt idx="428">
                  <c:v>285079</c:v>
                </c:pt>
                <c:pt idx="429">
                  <c:v>285091</c:v>
                </c:pt>
                <c:pt idx="430">
                  <c:v>285120</c:v>
                </c:pt>
                <c:pt idx="431">
                  <c:v>285122</c:v>
                </c:pt>
                <c:pt idx="432">
                  <c:v>285132</c:v>
                </c:pt>
                <c:pt idx="433">
                  <c:v>285136</c:v>
                </c:pt>
                <c:pt idx="434">
                  <c:v>285142</c:v>
                </c:pt>
                <c:pt idx="435">
                  <c:v>285152</c:v>
                </c:pt>
                <c:pt idx="436">
                  <c:v>285168</c:v>
                </c:pt>
                <c:pt idx="437">
                  <c:v>285170</c:v>
                </c:pt>
                <c:pt idx="438">
                  <c:v>285179</c:v>
                </c:pt>
                <c:pt idx="439">
                  <c:v>285188</c:v>
                </c:pt>
                <c:pt idx="440">
                  <c:v>285195</c:v>
                </c:pt>
                <c:pt idx="441">
                  <c:v>2852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QI$1</c:f>
              <c:strCache>
                <c:ptCount val="44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4.II.22</c:v>
                </c:pt>
                <c:pt idx="410">
                  <c:v>15.II.22</c:v>
                </c:pt>
                <c:pt idx="411">
                  <c:v>16.II.22</c:v>
                </c:pt>
                <c:pt idx="412">
                  <c:v>17.II.22</c:v>
                </c:pt>
                <c:pt idx="413">
                  <c:v>18.II.22</c:v>
                </c:pt>
                <c:pt idx="414">
                  <c:v>19.II.22</c:v>
                </c:pt>
                <c:pt idx="415">
                  <c:v>21.II.22</c:v>
                </c:pt>
                <c:pt idx="416">
                  <c:v>22.II.22</c:v>
                </c:pt>
                <c:pt idx="417">
                  <c:v>23.II.22</c:v>
                </c:pt>
                <c:pt idx="418">
                  <c:v>24.II.22</c:v>
                </c:pt>
                <c:pt idx="419">
                  <c:v>25.II.22</c:v>
                </c:pt>
                <c:pt idx="420">
                  <c:v>28.II.22</c:v>
                </c:pt>
                <c:pt idx="421">
                  <c:v>1.III.22</c:v>
                </c:pt>
                <c:pt idx="422">
                  <c:v>2.III.22</c:v>
                </c:pt>
                <c:pt idx="423">
                  <c:v>3.III.22</c:v>
                </c:pt>
                <c:pt idx="424">
                  <c:v>4.III.22</c:v>
                </c:pt>
                <c:pt idx="425">
                  <c:v>5.III.22</c:v>
                </c:pt>
                <c:pt idx="426">
                  <c:v>7.III.22</c:v>
                </c:pt>
                <c:pt idx="427">
                  <c:v>8.III.22</c:v>
                </c:pt>
                <c:pt idx="428">
                  <c:v>9.III.22</c:v>
                </c:pt>
                <c:pt idx="429">
                  <c:v>10.III.22</c:v>
                </c:pt>
                <c:pt idx="430">
                  <c:v>11.III.22</c:v>
                </c:pt>
                <c:pt idx="431">
                  <c:v>12.III.22</c:v>
                </c:pt>
                <c:pt idx="432">
                  <c:v>14.III.22</c:v>
                </c:pt>
                <c:pt idx="433">
                  <c:v>15.III.22</c:v>
                </c:pt>
                <c:pt idx="434">
                  <c:v>16.III.22</c:v>
                </c:pt>
                <c:pt idx="435">
                  <c:v>17.III.22</c:v>
                </c:pt>
                <c:pt idx="436">
                  <c:v>18.III.22</c:v>
                </c:pt>
                <c:pt idx="437">
                  <c:v>21.III.22</c:v>
                </c:pt>
                <c:pt idx="438">
                  <c:v>22.III.22</c:v>
                </c:pt>
                <c:pt idx="439">
                  <c:v>23.III.22</c:v>
                </c:pt>
                <c:pt idx="440">
                  <c:v>24.III.22</c:v>
                </c:pt>
                <c:pt idx="441">
                  <c:v>25.III.22</c:v>
                </c:pt>
              </c:strCache>
            </c:strRef>
          </c:cat>
          <c:val>
            <c:numRef>
              <c:f>List1!$J$3:$QI$3</c:f>
              <c:numCache>
                <c:formatCode>General</c:formatCode>
                <c:ptCount val="442"/>
                <c:pt idx="0">
                  <c:v>1122</c:v>
                </c:pt>
                <c:pt idx="1">
                  <c:v>2231</c:v>
                </c:pt>
                <c:pt idx="2">
                  <c:v>3367</c:v>
                </c:pt>
                <c:pt idx="3">
                  <c:v>3747</c:v>
                </c:pt>
                <c:pt idx="4">
                  <c:v>3865</c:v>
                </c:pt>
                <c:pt idx="5">
                  <c:v>4346</c:v>
                </c:pt>
                <c:pt idx="6">
                  <c:v>4664</c:v>
                </c:pt>
                <c:pt idx="7">
                  <c:v>6009</c:v>
                </c:pt>
                <c:pt idx="8">
                  <c:v>7652</c:v>
                </c:pt>
                <c:pt idx="9">
                  <c:v>9664</c:v>
                </c:pt>
                <c:pt idx="10">
                  <c:v>12219</c:v>
                </c:pt>
                <c:pt idx="11">
                  <c:v>15350</c:v>
                </c:pt>
                <c:pt idx="12">
                  <c:v>15796</c:v>
                </c:pt>
                <c:pt idx="13">
                  <c:v>16152</c:v>
                </c:pt>
                <c:pt idx="14">
                  <c:v>18950</c:v>
                </c:pt>
                <c:pt idx="15">
                  <c:v>22140</c:v>
                </c:pt>
                <c:pt idx="16">
                  <c:v>25007</c:v>
                </c:pt>
                <c:pt idx="17">
                  <c:v>28198</c:v>
                </c:pt>
                <c:pt idx="18">
                  <c:v>30980</c:v>
                </c:pt>
                <c:pt idx="19">
                  <c:v>31361</c:v>
                </c:pt>
                <c:pt idx="20">
                  <c:v>31588</c:v>
                </c:pt>
                <c:pt idx="21">
                  <c:v>33542</c:v>
                </c:pt>
                <c:pt idx="22">
                  <c:v>35230</c:v>
                </c:pt>
                <c:pt idx="23">
                  <c:v>36879</c:v>
                </c:pt>
                <c:pt idx="24">
                  <c:v>38414</c:v>
                </c:pt>
                <c:pt idx="25">
                  <c:v>39724</c:v>
                </c:pt>
                <c:pt idx="26">
                  <c:v>39880</c:v>
                </c:pt>
                <c:pt idx="27">
                  <c:v>39989</c:v>
                </c:pt>
                <c:pt idx="28">
                  <c:v>40634</c:v>
                </c:pt>
                <c:pt idx="29">
                  <c:v>41408</c:v>
                </c:pt>
                <c:pt idx="30">
                  <c:v>42061</c:v>
                </c:pt>
                <c:pt idx="31">
                  <c:v>42669</c:v>
                </c:pt>
                <c:pt idx="32">
                  <c:v>43233</c:v>
                </c:pt>
                <c:pt idx="33">
                  <c:v>43255</c:v>
                </c:pt>
                <c:pt idx="34">
                  <c:v>43273</c:v>
                </c:pt>
                <c:pt idx="35">
                  <c:v>43631</c:v>
                </c:pt>
                <c:pt idx="36">
                  <c:v>43973</c:v>
                </c:pt>
                <c:pt idx="37">
                  <c:v>44334</c:v>
                </c:pt>
                <c:pt idx="38">
                  <c:v>44664</c:v>
                </c:pt>
                <c:pt idx="39">
                  <c:v>45082</c:v>
                </c:pt>
                <c:pt idx="40">
                  <c:v>45104</c:v>
                </c:pt>
                <c:pt idx="41">
                  <c:v>45125</c:v>
                </c:pt>
                <c:pt idx="42">
                  <c:v>45394</c:v>
                </c:pt>
                <c:pt idx="43">
                  <c:v>45716</c:v>
                </c:pt>
                <c:pt idx="44">
                  <c:v>46118</c:v>
                </c:pt>
                <c:pt idx="45">
                  <c:v>46590</c:v>
                </c:pt>
                <c:pt idx="46">
                  <c:v>47122</c:v>
                </c:pt>
                <c:pt idx="47">
                  <c:v>47296</c:v>
                </c:pt>
                <c:pt idx="48">
                  <c:v>47350</c:v>
                </c:pt>
                <c:pt idx="49">
                  <c:v>47901</c:v>
                </c:pt>
                <c:pt idx="50">
                  <c:v>48389</c:v>
                </c:pt>
                <c:pt idx="51">
                  <c:v>48959</c:v>
                </c:pt>
                <c:pt idx="52">
                  <c:v>49628</c:v>
                </c:pt>
                <c:pt idx="53">
                  <c:v>50385</c:v>
                </c:pt>
                <c:pt idx="54">
                  <c:v>50515</c:v>
                </c:pt>
                <c:pt idx="55">
                  <c:v>50574</c:v>
                </c:pt>
                <c:pt idx="56">
                  <c:v>51171</c:v>
                </c:pt>
                <c:pt idx="57">
                  <c:v>51986</c:v>
                </c:pt>
                <c:pt idx="58">
                  <c:v>52810</c:v>
                </c:pt>
                <c:pt idx="59">
                  <c:v>54036</c:v>
                </c:pt>
                <c:pt idx="60">
                  <c:v>55026</c:v>
                </c:pt>
                <c:pt idx="61">
                  <c:v>55101</c:v>
                </c:pt>
                <c:pt idx="62">
                  <c:v>55149</c:v>
                </c:pt>
                <c:pt idx="63">
                  <c:v>56037</c:v>
                </c:pt>
                <c:pt idx="64">
                  <c:v>56989</c:v>
                </c:pt>
                <c:pt idx="65">
                  <c:v>57985</c:v>
                </c:pt>
                <c:pt idx="66">
                  <c:v>58895</c:v>
                </c:pt>
                <c:pt idx="67">
                  <c:v>60083</c:v>
                </c:pt>
                <c:pt idx="68">
                  <c:v>60333</c:v>
                </c:pt>
                <c:pt idx="69">
                  <c:v>60524</c:v>
                </c:pt>
                <c:pt idx="70">
                  <c:v>61302</c:v>
                </c:pt>
                <c:pt idx="71">
                  <c:v>62229</c:v>
                </c:pt>
                <c:pt idx="72">
                  <c:v>63177</c:v>
                </c:pt>
                <c:pt idx="73">
                  <c:v>64504</c:v>
                </c:pt>
                <c:pt idx="74">
                  <c:v>65609</c:v>
                </c:pt>
                <c:pt idx="75">
                  <c:v>65845</c:v>
                </c:pt>
                <c:pt idx="76">
                  <c:v>66088</c:v>
                </c:pt>
                <c:pt idx="77">
                  <c:v>66791</c:v>
                </c:pt>
                <c:pt idx="78">
                  <c:v>67832</c:v>
                </c:pt>
                <c:pt idx="79">
                  <c:v>68853</c:v>
                </c:pt>
                <c:pt idx="80">
                  <c:v>69748</c:v>
                </c:pt>
                <c:pt idx="81">
                  <c:v>70723</c:v>
                </c:pt>
                <c:pt idx="82">
                  <c:v>71083</c:v>
                </c:pt>
                <c:pt idx="83">
                  <c:v>71255</c:v>
                </c:pt>
                <c:pt idx="84">
                  <c:v>71787</c:v>
                </c:pt>
                <c:pt idx="85">
                  <c:v>72337</c:v>
                </c:pt>
                <c:pt idx="86">
                  <c:v>72843</c:v>
                </c:pt>
                <c:pt idx="87">
                  <c:v>73401</c:v>
                </c:pt>
                <c:pt idx="88">
                  <c:v>73982</c:v>
                </c:pt>
                <c:pt idx="89">
                  <c:v>74133</c:v>
                </c:pt>
                <c:pt idx="90">
                  <c:v>74300</c:v>
                </c:pt>
                <c:pt idx="91">
                  <c:v>74648</c:v>
                </c:pt>
                <c:pt idx="92">
                  <c:v>75095</c:v>
                </c:pt>
                <c:pt idx="93">
                  <c:v>75562</c:v>
                </c:pt>
                <c:pt idx="94">
                  <c:v>76016</c:v>
                </c:pt>
                <c:pt idx="95">
                  <c:v>76120</c:v>
                </c:pt>
                <c:pt idx="96">
                  <c:v>76162</c:v>
                </c:pt>
                <c:pt idx="97">
                  <c:v>76211</c:v>
                </c:pt>
                <c:pt idx="98">
                  <c:v>76247</c:v>
                </c:pt>
                <c:pt idx="99">
                  <c:v>76492</c:v>
                </c:pt>
                <c:pt idx="100">
                  <c:v>76809</c:v>
                </c:pt>
                <c:pt idx="101">
                  <c:v>77347</c:v>
                </c:pt>
                <c:pt idx="102">
                  <c:v>77921</c:v>
                </c:pt>
                <c:pt idx="103">
                  <c:v>78080</c:v>
                </c:pt>
                <c:pt idx="104">
                  <c:v>78181</c:v>
                </c:pt>
                <c:pt idx="105">
                  <c:v>78608</c:v>
                </c:pt>
                <c:pt idx="106">
                  <c:v>78988</c:v>
                </c:pt>
                <c:pt idx="107">
                  <c:v>79442</c:v>
                </c:pt>
                <c:pt idx="108">
                  <c:v>80102</c:v>
                </c:pt>
                <c:pt idx="109">
                  <c:v>80828</c:v>
                </c:pt>
                <c:pt idx="110">
                  <c:v>81032</c:v>
                </c:pt>
                <c:pt idx="111">
                  <c:v>81224</c:v>
                </c:pt>
                <c:pt idx="112">
                  <c:v>81746</c:v>
                </c:pt>
                <c:pt idx="113">
                  <c:v>82249</c:v>
                </c:pt>
                <c:pt idx="114">
                  <c:v>82907</c:v>
                </c:pt>
                <c:pt idx="115">
                  <c:v>83632</c:v>
                </c:pt>
                <c:pt idx="116">
                  <c:v>84343</c:v>
                </c:pt>
                <c:pt idx="117">
                  <c:v>84543</c:v>
                </c:pt>
                <c:pt idx="118">
                  <c:v>84731</c:v>
                </c:pt>
                <c:pt idx="119">
                  <c:v>85335</c:v>
                </c:pt>
                <c:pt idx="120">
                  <c:v>85882</c:v>
                </c:pt>
                <c:pt idx="121">
                  <c:v>86584</c:v>
                </c:pt>
                <c:pt idx="122">
                  <c:v>87340</c:v>
                </c:pt>
                <c:pt idx="123">
                  <c:v>87987</c:v>
                </c:pt>
                <c:pt idx="124">
                  <c:v>88141</c:v>
                </c:pt>
                <c:pt idx="125">
                  <c:v>88294</c:v>
                </c:pt>
                <c:pt idx="126">
                  <c:v>88801</c:v>
                </c:pt>
                <c:pt idx="127">
                  <c:v>89323</c:v>
                </c:pt>
                <c:pt idx="128">
                  <c:v>89848</c:v>
                </c:pt>
                <c:pt idx="129">
                  <c:v>90396</c:v>
                </c:pt>
                <c:pt idx="130">
                  <c:v>90967</c:v>
                </c:pt>
                <c:pt idx="131">
                  <c:v>91185</c:v>
                </c:pt>
                <c:pt idx="132">
                  <c:v>91292</c:v>
                </c:pt>
                <c:pt idx="133">
                  <c:v>91689</c:v>
                </c:pt>
                <c:pt idx="134">
                  <c:v>92168</c:v>
                </c:pt>
                <c:pt idx="135">
                  <c:v>92601</c:v>
                </c:pt>
                <c:pt idx="136">
                  <c:v>93036</c:v>
                </c:pt>
                <c:pt idx="137">
                  <c:v>93403</c:v>
                </c:pt>
                <c:pt idx="138">
                  <c:v>93565</c:v>
                </c:pt>
                <c:pt idx="139">
                  <c:v>93669</c:v>
                </c:pt>
                <c:pt idx="140">
                  <c:v>93985</c:v>
                </c:pt>
                <c:pt idx="141">
                  <c:v>94358</c:v>
                </c:pt>
                <c:pt idx="142">
                  <c:v>94719</c:v>
                </c:pt>
                <c:pt idx="143">
                  <c:v>95111</c:v>
                </c:pt>
                <c:pt idx="144">
                  <c:v>95476</c:v>
                </c:pt>
                <c:pt idx="145">
                  <c:v>95621</c:v>
                </c:pt>
                <c:pt idx="146">
                  <c:v>95719</c:v>
                </c:pt>
                <c:pt idx="147">
                  <c:v>95934</c:v>
                </c:pt>
                <c:pt idx="148">
                  <c:v>96173</c:v>
                </c:pt>
                <c:pt idx="149">
                  <c:v>96523</c:v>
                </c:pt>
                <c:pt idx="150">
                  <c:v>96850</c:v>
                </c:pt>
                <c:pt idx="151">
                  <c:v>97135</c:v>
                </c:pt>
                <c:pt idx="152">
                  <c:v>97278</c:v>
                </c:pt>
                <c:pt idx="153">
                  <c:v>97367</c:v>
                </c:pt>
                <c:pt idx="154">
                  <c:v>97645</c:v>
                </c:pt>
                <c:pt idx="155">
                  <c:v>97915</c:v>
                </c:pt>
                <c:pt idx="156">
                  <c:v>98259</c:v>
                </c:pt>
                <c:pt idx="157">
                  <c:v>98612</c:v>
                </c:pt>
                <c:pt idx="158">
                  <c:v>98938</c:v>
                </c:pt>
                <c:pt idx="159">
                  <c:v>99074</c:v>
                </c:pt>
                <c:pt idx="160">
                  <c:v>99203</c:v>
                </c:pt>
                <c:pt idx="161">
                  <c:v>99541</c:v>
                </c:pt>
                <c:pt idx="162">
                  <c:v>99881</c:v>
                </c:pt>
                <c:pt idx="163">
                  <c:v>100231</c:v>
                </c:pt>
                <c:pt idx="164">
                  <c:v>100593</c:v>
                </c:pt>
                <c:pt idx="165">
                  <c:v>100893</c:v>
                </c:pt>
                <c:pt idx="166">
                  <c:v>101101</c:v>
                </c:pt>
                <c:pt idx="167">
                  <c:v>101218</c:v>
                </c:pt>
                <c:pt idx="168">
                  <c:v>101462</c:v>
                </c:pt>
                <c:pt idx="169">
                  <c:v>101736</c:v>
                </c:pt>
                <c:pt idx="170">
                  <c:v>101976</c:v>
                </c:pt>
                <c:pt idx="171">
                  <c:v>102246</c:v>
                </c:pt>
                <c:pt idx="172">
                  <c:v>102463</c:v>
                </c:pt>
                <c:pt idx="173">
                  <c:v>102581</c:v>
                </c:pt>
                <c:pt idx="174">
                  <c:v>102675</c:v>
                </c:pt>
                <c:pt idx="175">
                  <c:v>102851</c:v>
                </c:pt>
                <c:pt idx="176">
                  <c:v>103072</c:v>
                </c:pt>
                <c:pt idx="177">
                  <c:v>103259</c:v>
                </c:pt>
                <c:pt idx="178">
                  <c:v>103420</c:v>
                </c:pt>
                <c:pt idx="179">
                  <c:v>103606</c:v>
                </c:pt>
                <c:pt idx="180">
                  <c:v>103697</c:v>
                </c:pt>
                <c:pt idx="181">
                  <c:v>103765</c:v>
                </c:pt>
                <c:pt idx="182">
                  <c:v>103946</c:v>
                </c:pt>
                <c:pt idx="183">
                  <c:v>104114</c:v>
                </c:pt>
                <c:pt idx="184">
                  <c:v>104295</c:v>
                </c:pt>
                <c:pt idx="185">
                  <c:v>104436</c:v>
                </c:pt>
                <c:pt idx="186">
                  <c:v>104628</c:v>
                </c:pt>
                <c:pt idx="187">
                  <c:v>104663</c:v>
                </c:pt>
                <c:pt idx="188">
                  <c:v>104708</c:v>
                </c:pt>
                <c:pt idx="189">
                  <c:v>104757</c:v>
                </c:pt>
                <c:pt idx="190">
                  <c:v>104789</c:v>
                </c:pt>
                <c:pt idx="191">
                  <c:v>104954</c:v>
                </c:pt>
                <c:pt idx="192">
                  <c:v>105132</c:v>
                </c:pt>
                <c:pt idx="193">
                  <c:v>105305</c:v>
                </c:pt>
                <c:pt idx="194">
                  <c:v>105365</c:v>
                </c:pt>
                <c:pt idx="195">
                  <c:v>105414</c:v>
                </c:pt>
                <c:pt idx="196">
                  <c:v>105576</c:v>
                </c:pt>
                <c:pt idx="197">
                  <c:v>105761</c:v>
                </c:pt>
                <c:pt idx="198">
                  <c:v>105964</c:v>
                </c:pt>
                <c:pt idx="199">
                  <c:v>106155</c:v>
                </c:pt>
                <c:pt idx="200">
                  <c:v>106338</c:v>
                </c:pt>
                <c:pt idx="201">
                  <c:v>106388</c:v>
                </c:pt>
                <c:pt idx="202">
                  <c:v>106447</c:v>
                </c:pt>
                <c:pt idx="203">
                  <c:v>106617</c:v>
                </c:pt>
                <c:pt idx="204">
                  <c:v>106766</c:v>
                </c:pt>
                <c:pt idx="205">
                  <c:v>106946</c:v>
                </c:pt>
                <c:pt idx="206">
                  <c:v>107124</c:v>
                </c:pt>
                <c:pt idx="207">
                  <c:v>107271</c:v>
                </c:pt>
                <c:pt idx="208">
                  <c:v>107314</c:v>
                </c:pt>
                <c:pt idx="209">
                  <c:v>107340</c:v>
                </c:pt>
                <c:pt idx="210">
                  <c:v>107508</c:v>
                </c:pt>
                <c:pt idx="211">
                  <c:v>107678</c:v>
                </c:pt>
                <c:pt idx="212">
                  <c:v>107830</c:v>
                </c:pt>
                <c:pt idx="213">
                  <c:v>107979</c:v>
                </c:pt>
                <c:pt idx="214">
                  <c:v>108143</c:v>
                </c:pt>
                <c:pt idx="215">
                  <c:v>108182</c:v>
                </c:pt>
                <c:pt idx="216">
                  <c:v>108222</c:v>
                </c:pt>
                <c:pt idx="217">
                  <c:v>108321</c:v>
                </c:pt>
                <c:pt idx="218">
                  <c:v>108433</c:v>
                </c:pt>
                <c:pt idx="219">
                  <c:v>108562</c:v>
                </c:pt>
                <c:pt idx="220">
                  <c:v>108671</c:v>
                </c:pt>
                <c:pt idx="221">
                  <c:v>108790</c:v>
                </c:pt>
                <c:pt idx="222">
                  <c:v>108812</c:v>
                </c:pt>
                <c:pt idx="223">
                  <c:v>108837</c:v>
                </c:pt>
                <c:pt idx="224">
                  <c:v>108922</c:v>
                </c:pt>
                <c:pt idx="225">
                  <c:v>109001</c:v>
                </c:pt>
                <c:pt idx="226">
                  <c:v>109071</c:v>
                </c:pt>
                <c:pt idx="227">
                  <c:v>109177</c:v>
                </c:pt>
                <c:pt idx="228">
                  <c:v>109240</c:v>
                </c:pt>
                <c:pt idx="229">
                  <c:v>109261</c:v>
                </c:pt>
                <c:pt idx="230">
                  <c:v>109283</c:v>
                </c:pt>
                <c:pt idx="231">
                  <c:v>109366</c:v>
                </c:pt>
                <c:pt idx="232">
                  <c:v>109445</c:v>
                </c:pt>
                <c:pt idx="233">
                  <c:v>109507</c:v>
                </c:pt>
                <c:pt idx="234">
                  <c:v>109577</c:v>
                </c:pt>
                <c:pt idx="235">
                  <c:v>109692</c:v>
                </c:pt>
                <c:pt idx="236">
                  <c:v>109706</c:v>
                </c:pt>
                <c:pt idx="237">
                  <c:v>109717</c:v>
                </c:pt>
                <c:pt idx="238">
                  <c:v>109813</c:v>
                </c:pt>
                <c:pt idx="239">
                  <c:v>109901</c:v>
                </c:pt>
                <c:pt idx="240">
                  <c:v>109967</c:v>
                </c:pt>
                <c:pt idx="241">
                  <c:v>110039</c:v>
                </c:pt>
                <c:pt idx="242">
                  <c:v>110128</c:v>
                </c:pt>
                <c:pt idx="243">
                  <c:v>110144</c:v>
                </c:pt>
                <c:pt idx="244">
                  <c:v>110160</c:v>
                </c:pt>
                <c:pt idx="245">
                  <c:v>110232</c:v>
                </c:pt>
                <c:pt idx="246">
                  <c:v>110293</c:v>
                </c:pt>
                <c:pt idx="247">
                  <c:v>110350</c:v>
                </c:pt>
                <c:pt idx="248">
                  <c:v>110424</c:v>
                </c:pt>
                <c:pt idx="249">
                  <c:v>110500</c:v>
                </c:pt>
                <c:pt idx="250">
                  <c:v>110512</c:v>
                </c:pt>
                <c:pt idx="251">
                  <c:v>110522</c:v>
                </c:pt>
                <c:pt idx="252">
                  <c:v>110581</c:v>
                </c:pt>
                <c:pt idx="253">
                  <c:v>110623</c:v>
                </c:pt>
                <c:pt idx="254">
                  <c:v>110673</c:v>
                </c:pt>
                <c:pt idx="255">
                  <c:v>110729</c:v>
                </c:pt>
                <c:pt idx="256">
                  <c:v>110780</c:v>
                </c:pt>
                <c:pt idx="257">
                  <c:v>110797</c:v>
                </c:pt>
                <c:pt idx="258">
                  <c:v>110804</c:v>
                </c:pt>
                <c:pt idx="259">
                  <c:v>110848</c:v>
                </c:pt>
                <c:pt idx="260">
                  <c:v>110911</c:v>
                </c:pt>
                <c:pt idx="261">
                  <c:v>110960</c:v>
                </c:pt>
                <c:pt idx="262">
                  <c:v>111017</c:v>
                </c:pt>
                <c:pt idx="263">
                  <c:v>111084</c:v>
                </c:pt>
                <c:pt idx="264">
                  <c:v>111101</c:v>
                </c:pt>
                <c:pt idx="265">
                  <c:v>111108</c:v>
                </c:pt>
                <c:pt idx="266">
                  <c:v>111146</c:v>
                </c:pt>
                <c:pt idx="267">
                  <c:v>111195</c:v>
                </c:pt>
                <c:pt idx="268">
                  <c:v>111239</c:v>
                </c:pt>
                <c:pt idx="269">
                  <c:v>111292</c:v>
                </c:pt>
                <c:pt idx="270">
                  <c:v>111364</c:v>
                </c:pt>
                <c:pt idx="271">
                  <c:v>111374</c:v>
                </c:pt>
                <c:pt idx="272">
                  <c:v>111378</c:v>
                </c:pt>
                <c:pt idx="273">
                  <c:v>111421</c:v>
                </c:pt>
                <c:pt idx="274">
                  <c:v>111423</c:v>
                </c:pt>
                <c:pt idx="275">
                  <c:v>111463</c:v>
                </c:pt>
                <c:pt idx="276">
                  <c:v>111502</c:v>
                </c:pt>
                <c:pt idx="277">
                  <c:v>111537</c:v>
                </c:pt>
                <c:pt idx="278">
                  <c:v>111544</c:v>
                </c:pt>
                <c:pt idx="279">
                  <c:v>111551</c:v>
                </c:pt>
                <c:pt idx="280">
                  <c:v>111579</c:v>
                </c:pt>
                <c:pt idx="281">
                  <c:v>111626</c:v>
                </c:pt>
                <c:pt idx="282">
                  <c:v>111675</c:v>
                </c:pt>
                <c:pt idx="283">
                  <c:v>111703</c:v>
                </c:pt>
                <c:pt idx="284">
                  <c:v>111753</c:v>
                </c:pt>
                <c:pt idx="285">
                  <c:v>111763</c:v>
                </c:pt>
                <c:pt idx="286">
                  <c:v>111768</c:v>
                </c:pt>
                <c:pt idx="287">
                  <c:v>111797</c:v>
                </c:pt>
                <c:pt idx="288">
                  <c:v>111818</c:v>
                </c:pt>
                <c:pt idx="289">
                  <c:v>111855</c:v>
                </c:pt>
                <c:pt idx="290">
                  <c:v>111886</c:v>
                </c:pt>
                <c:pt idx="291">
                  <c:v>111932</c:v>
                </c:pt>
                <c:pt idx="292">
                  <c:v>111944</c:v>
                </c:pt>
                <c:pt idx="293">
                  <c:v>111961</c:v>
                </c:pt>
                <c:pt idx="294">
                  <c:v>112013</c:v>
                </c:pt>
                <c:pt idx="295">
                  <c:v>112069</c:v>
                </c:pt>
                <c:pt idx="296">
                  <c:v>112127</c:v>
                </c:pt>
                <c:pt idx="297">
                  <c:v>112241</c:v>
                </c:pt>
                <c:pt idx="298">
                  <c:v>112365</c:v>
                </c:pt>
                <c:pt idx="299">
                  <c:v>112391</c:v>
                </c:pt>
                <c:pt idx="300">
                  <c:v>112415</c:v>
                </c:pt>
                <c:pt idx="301">
                  <c:v>112539</c:v>
                </c:pt>
                <c:pt idx="302">
                  <c:v>112707</c:v>
                </c:pt>
                <c:pt idx="303">
                  <c:v>112909</c:v>
                </c:pt>
                <c:pt idx="304">
                  <c:v>112946</c:v>
                </c:pt>
                <c:pt idx="305">
                  <c:v>113110</c:v>
                </c:pt>
                <c:pt idx="306">
                  <c:v>113156</c:v>
                </c:pt>
                <c:pt idx="307">
                  <c:v>113188</c:v>
                </c:pt>
                <c:pt idx="308">
                  <c:v>113356</c:v>
                </c:pt>
                <c:pt idx="309">
                  <c:v>113557</c:v>
                </c:pt>
                <c:pt idx="310">
                  <c:v>113747</c:v>
                </c:pt>
                <c:pt idx="311">
                  <c:v>113980</c:v>
                </c:pt>
                <c:pt idx="312">
                  <c:v>114229</c:v>
                </c:pt>
                <c:pt idx="313">
                  <c:v>114287</c:v>
                </c:pt>
                <c:pt idx="314">
                  <c:v>114325</c:v>
                </c:pt>
                <c:pt idx="315">
                  <c:v>114510</c:v>
                </c:pt>
                <c:pt idx="316">
                  <c:v>114665</c:v>
                </c:pt>
                <c:pt idx="317">
                  <c:v>114853</c:v>
                </c:pt>
                <c:pt idx="318">
                  <c:v>115030</c:v>
                </c:pt>
                <c:pt idx="319">
                  <c:v>115235</c:v>
                </c:pt>
                <c:pt idx="320">
                  <c:v>115294</c:v>
                </c:pt>
                <c:pt idx="321">
                  <c:v>115333</c:v>
                </c:pt>
                <c:pt idx="322">
                  <c:v>115523</c:v>
                </c:pt>
                <c:pt idx="323">
                  <c:v>115726</c:v>
                </c:pt>
                <c:pt idx="324">
                  <c:v>115776</c:v>
                </c:pt>
                <c:pt idx="325">
                  <c:v>116000</c:v>
                </c:pt>
                <c:pt idx="326">
                  <c:v>116277</c:v>
                </c:pt>
                <c:pt idx="327">
                  <c:v>116368</c:v>
                </c:pt>
                <c:pt idx="328">
                  <c:v>116435</c:v>
                </c:pt>
                <c:pt idx="329">
                  <c:v>116621</c:v>
                </c:pt>
                <c:pt idx="330">
                  <c:v>116800</c:v>
                </c:pt>
                <c:pt idx="331">
                  <c:v>117025</c:v>
                </c:pt>
                <c:pt idx="332">
                  <c:v>117240</c:v>
                </c:pt>
                <c:pt idx="333">
                  <c:v>117476</c:v>
                </c:pt>
                <c:pt idx="334">
                  <c:v>117538</c:v>
                </c:pt>
                <c:pt idx="335">
                  <c:v>117561</c:v>
                </c:pt>
                <c:pt idx="336">
                  <c:v>117711</c:v>
                </c:pt>
                <c:pt idx="337">
                  <c:v>117870</c:v>
                </c:pt>
                <c:pt idx="338">
                  <c:v>118025</c:v>
                </c:pt>
                <c:pt idx="339">
                  <c:v>118141</c:v>
                </c:pt>
                <c:pt idx="340">
                  <c:v>118255</c:v>
                </c:pt>
                <c:pt idx="341">
                  <c:v>118282</c:v>
                </c:pt>
                <c:pt idx="342">
                  <c:v>118293</c:v>
                </c:pt>
                <c:pt idx="343">
                  <c:v>118393</c:v>
                </c:pt>
                <c:pt idx="344">
                  <c:v>118478</c:v>
                </c:pt>
                <c:pt idx="345">
                  <c:v>118575</c:v>
                </c:pt>
                <c:pt idx="346">
                  <c:v>118650</c:v>
                </c:pt>
                <c:pt idx="347">
                  <c:v>118732</c:v>
                </c:pt>
                <c:pt idx="348">
                  <c:v>118746</c:v>
                </c:pt>
                <c:pt idx="349">
                  <c:v>118757</c:v>
                </c:pt>
                <c:pt idx="350">
                  <c:v>118843</c:v>
                </c:pt>
                <c:pt idx="351">
                  <c:v>118905</c:v>
                </c:pt>
                <c:pt idx="352">
                  <c:v>118985</c:v>
                </c:pt>
                <c:pt idx="353">
                  <c:v>119066</c:v>
                </c:pt>
                <c:pt idx="354">
                  <c:v>119150</c:v>
                </c:pt>
                <c:pt idx="355">
                  <c:v>119175</c:v>
                </c:pt>
                <c:pt idx="356">
                  <c:v>119179</c:v>
                </c:pt>
                <c:pt idx="357">
                  <c:v>119237</c:v>
                </c:pt>
                <c:pt idx="358">
                  <c:v>119277</c:v>
                </c:pt>
                <c:pt idx="359">
                  <c:v>119315</c:v>
                </c:pt>
                <c:pt idx="360">
                  <c:v>119335</c:v>
                </c:pt>
                <c:pt idx="361">
                  <c:v>119335</c:v>
                </c:pt>
                <c:pt idx="362">
                  <c:v>119362</c:v>
                </c:pt>
                <c:pt idx="363">
                  <c:v>119398</c:v>
                </c:pt>
                <c:pt idx="364">
                  <c:v>119437</c:v>
                </c:pt>
                <c:pt idx="365">
                  <c:v>119470</c:v>
                </c:pt>
                <c:pt idx="366">
                  <c:v>119473</c:v>
                </c:pt>
                <c:pt idx="367">
                  <c:v>119476</c:v>
                </c:pt>
                <c:pt idx="368">
                  <c:v>119522</c:v>
                </c:pt>
                <c:pt idx="369">
                  <c:v>119553</c:v>
                </c:pt>
                <c:pt idx="370">
                  <c:v>119612</c:v>
                </c:pt>
                <c:pt idx="371">
                  <c:v>119667</c:v>
                </c:pt>
                <c:pt idx="372">
                  <c:v>119753</c:v>
                </c:pt>
                <c:pt idx="373">
                  <c:v>119761</c:v>
                </c:pt>
                <c:pt idx="374">
                  <c:v>119766</c:v>
                </c:pt>
                <c:pt idx="375">
                  <c:v>119806</c:v>
                </c:pt>
                <c:pt idx="376">
                  <c:v>119856</c:v>
                </c:pt>
                <c:pt idx="377">
                  <c:v>119904</c:v>
                </c:pt>
                <c:pt idx="378">
                  <c:v>119963</c:v>
                </c:pt>
                <c:pt idx="379">
                  <c:v>120047</c:v>
                </c:pt>
                <c:pt idx="380">
                  <c:v>120061</c:v>
                </c:pt>
                <c:pt idx="381">
                  <c:v>120067</c:v>
                </c:pt>
                <c:pt idx="382">
                  <c:v>120112</c:v>
                </c:pt>
                <c:pt idx="383">
                  <c:v>120161</c:v>
                </c:pt>
                <c:pt idx="384">
                  <c:v>120200</c:v>
                </c:pt>
                <c:pt idx="385">
                  <c:v>120229</c:v>
                </c:pt>
                <c:pt idx="386">
                  <c:v>120266</c:v>
                </c:pt>
                <c:pt idx="387">
                  <c:v>120269</c:v>
                </c:pt>
                <c:pt idx="388">
                  <c:v>120272</c:v>
                </c:pt>
                <c:pt idx="389">
                  <c:v>120287</c:v>
                </c:pt>
                <c:pt idx="390">
                  <c:v>120304</c:v>
                </c:pt>
                <c:pt idx="391">
                  <c:v>120320</c:v>
                </c:pt>
                <c:pt idx="392">
                  <c:v>120338</c:v>
                </c:pt>
                <c:pt idx="393">
                  <c:v>120367</c:v>
                </c:pt>
                <c:pt idx="394">
                  <c:v>120374</c:v>
                </c:pt>
                <c:pt idx="395">
                  <c:v>120375</c:v>
                </c:pt>
                <c:pt idx="396">
                  <c:v>120388</c:v>
                </c:pt>
                <c:pt idx="397">
                  <c:v>120396</c:v>
                </c:pt>
                <c:pt idx="398">
                  <c:v>120406</c:v>
                </c:pt>
                <c:pt idx="399">
                  <c:v>120416</c:v>
                </c:pt>
                <c:pt idx="400">
                  <c:v>120432</c:v>
                </c:pt>
                <c:pt idx="401">
                  <c:v>120433</c:v>
                </c:pt>
                <c:pt idx="402">
                  <c:v>120433</c:v>
                </c:pt>
                <c:pt idx="403">
                  <c:v>120439</c:v>
                </c:pt>
                <c:pt idx="404">
                  <c:v>120442</c:v>
                </c:pt>
                <c:pt idx="405">
                  <c:v>120445</c:v>
                </c:pt>
                <c:pt idx="406">
                  <c:v>120452</c:v>
                </c:pt>
                <c:pt idx="407">
                  <c:v>120458</c:v>
                </c:pt>
                <c:pt idx="408">
                  <c:v>120458</c:v>
                </c:pt>
                <c:pt idx="409">
                  <c:v>120462</c:v>
                </c:pt>
                <c:pt idx="410">
                  <c:v>120466</c:v>
                </c:pt>
                <c:pt idx="411">
                  <c:v>120467</c:v>
                </c:pt>
                <c:pt idx="412">
                  <c:v>120470</c:v>
                </c:pt>
                <c:pt idx="413">
                  <c:v>120472</c:v>
                </c:pt>
                <c:pt idx="414">
                  <c:v>120472</c:v>
                </c:pt>
                <c:pt idx="415">
                  <c:v>120476</c:v>
                </c:pt>
                <c:pt idx="416">
                  <c:v>120476</c:v>
                </c:pt>
                <c:pt idx="417">
                  <c:v>120478</c:v>
                </c:pt>
                <c:pt idx="418">
                  <c:v>120482</c:v>
                </c:pt>
                <c:pt idx="419">
                  <c:v>120485</c:v>
                </c:pt>
                <c:pt idx="420">
                  <c:v>120485</c:v>
                </c:pt>
                <c:pt idx="421">
                  <c:v>120489</c:v>
                </c:pt>
                <c:pt idx="422">
                  <c:v>120491</c:v>
                </c:pt>
                <c:pt idx="423">
                  <c:v>120493</c:v>
                </c:pt>
                <c:pt idx="424">
                  <c:v>120503</c:v>
                </c:pt>
                <c:pt idx="425">
                  <c:v>120504</c:v>
                </c:pt>
                <c:pt idx="426">
                  <c:v>120505</c:v>
                </c:pt>
                <c:pt idx="427">
                  <c:v>120505</c:v>
                </c:pt>
                <c:pt idx="428">
                  <c:v>120513</c:v>
                </c:pt>
                <c:pt idx="429">
                  <c:v>120516</c:v>
                </c:pt>
                <c:pt idx="430">
                  <c:v>120528</c:v>
                </c:pt>
                <c:pt idx="431">
                  <c:v>120528</c:v>
                </c:pt>
                <c:pt idx="432">
                  <c:v>120532</c:v>
                </c:pt>
                <c:pt idx="433">
                  <c:v>120536</c:v>
                </c:pt>
                <c:pt idx="434">
                  <c:v>120539</c:v>
                </c:pt>
                <c:pt idx="435">
                  <c:v>120545</c:v>
                </c:pt>
                <c:pt idx="436">
                  <c:v>120550</c:v>
                </c:pt>
                <c:pt idx="437">
                  <c:v>120550</c:v>
                </c:pt>
                <c:pt idx="438">
                  <c:v>120555</c:v>
                </c:pt>
                <c:pt idx="439">
                  <c:v>120562</c:v>
                </c:pt>
                <c:pt idx="440">
                  <c:v>120565</c:v>
                </c:pt>
                <c:pt idx="441">
                  <c:v>120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QI$1</c:f>
              <c:strCache>
                <c:ptCount val="44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4.II.22</c:v>
                </c:pt>
                <c:pt idx="410">
                  <c:v>15.II.22</c:v>
                </c:pt>
                <c:pt idx="411">
                  <c:v>16.II.22</c:v>
                </c:pt>
                <c:pt idx="412">
                  <c:v>17.II.22</c:v>
                </c:pt>
                <c:pt idx="413">
                  <c:v>18.II.22</c:v>
                </c:pt>
                <c:pt idx="414">
                  <c:v>19.II.22</c:v>
                </c:pt>
                <c:pt idx="415">
                  <c:v>21.II.22</c:v>
                </c:pt>
                <c:pt idx="416">
                  <c:v>22.II.22</c:v>
                </c:pt>
                <c:pt idx="417">
                  <c:v>23.II.22</c:v>
                </c:pt>
                <c:pt idx="418">
                  <c:v>24.II.22</c:v>
                </c:pt>
                <c:pt idx="419">
                  <c:v>25.II.22</c:v>
                </c:pt>
                <c:pt idx="420">
                  <c:v>28.II.22</c:v>
                </c:pt>
                <c:pt idx="421">
                  <c:v>1.III.22</c:v>
                </c:pt>
                <c:pt idx="422">
                  <c:v>2.III.22</c:v>
                </c:pt>
                <c:pt idx="423">
                  <c:v>3.III.22</c:v>
                </c:pt>
                <c:pt idx="424">
                  <c:v>4.III.22</c:v>
                </c:pt>
                <c:pt idx="425">
                  <c:v>5.III.22</c:v>
                </c:pt>
                <c:pt idx="426">
                  <c:v>7.III.22</c:v>
                </c:pt>
                <c:pt idx="427">
                  <c:v>8.III.22</c:v>
                </c:pt>
                <c:pt idx="428">
                  <c:v>9.III.22</c:v>
                </c:pt>
                <c:pt idx="429">
                  <c:v>10.III.22</c:v>
                </c:pt>
                <c:pt idx="430">
                  <c:v>11.III.22</c:v>
                </c:pt>
                <c:pt idx="431">
                  <c:v>12.III.22</c:v>
                </c:pt>
                <c:pt idx="432">
                  <c:v>14.III.22</c:v>
                </c:pt>
                <c:pt idx="433">
                  <c:v>15.III.22</c:v>
                </c:pt>
                <c:pt idx="434">
                  <c:v>16.III.22</c:v>
                </c:pt>
                <c:pt idx="435">
                  <c:v>17.III.22</c:v>
                </c:pt>
                <c:pt idx="436">
                  <c:v>18.III.22</c:v>
                </c:pt>
                <c:pt idx="437">
                  <c:v>21.III.22</c:v>
                </c:pt>
                <c:pt idx="438">
                  <c:v>22.III.22</c:v>
                </c:pt>
                <c:pt idx="439">
                  <c:v>23.III.22</c:v>
                </c:pt>
                <c:pt idx="440">
                  <c:v>24.III.22</c:v>
                </c:pt>
                <c:pt idx="441">
                  <c:v>25.III.22</c:v>
                </c:pt>
              </c:strCache>
            </c:strRef>
          </c:cat>
          <c:val>
            <c:numRef>
              <c:f>List1!$J$4:$QI$4</c:f>
              <c:numCache>
                <c:formatCode>General</c:formatCode>
                <c:ptCount val="442"/>
                <c:pt idx="0">
                  <c:v>640</c:v>
                </c:pt>
                <c:pt idx="1">
                  <c:v>1248</c:v>
                </c:pt>
                <c:pt idx="2">
                  <c:v>1873</c:v>
                </c:pt>
                <c:pt idx="3">
                  <c:v>2046</c:v>
                </c:pt>
                <c:pt idx="4">
                  <c:v>2075</c:v>
                </c:pt>
                <c:pt idx="5">
                  <c:v>2363</c:v>
                </c:pt>
                <c:pt idx="6">
                  <c:v>2574</c:v>
                </c:pt>
                <c:pt idx="7">
                  <c:v>3201</c:v>
                </c:pt>
                <c:pt idx="8">
                  <c:v>4163</c:v>
                </c:pt>
                <c:pt idx="9">
                  <c:v>5581</c:v>
                </c:pt>
                <c:pt idx="10">
                  <c:v>7181</c:v>
                </c:pt>
                <c:pt idx="11">
                  <c:v>9028</c:v>
                </c:pt>
                <c:pt idx="12">
                  <c:v>9336</c:v>
                </c:pt>
                <c:pt idx="13">
                  <c:v>9645</c:v>
                </c:pt>
                <c:pt idx="14">
                  <c:v>11510</c:v>
                </c:pt>
                <c:pt idx="15">
                  <c:v>13791</c:v>
                </c:pt>
                <c:pt idx="16">
                  <c:v>15830</c:v>
                </c:pt>
                <c:pt idx="17">
                  <c:v>17718</c:v>
                </c:pt>
                <c:pt idx="18">
                  <c:v>19327</c:v>
                </c:pt>
                <c:pt idx="19">
                  <c:v>19547</c:v>
                </c:pt>
                <c:pt idx="20">
                  <c:v>19643</c:v>
                </c:pt>
                <c:pt idx="21">
                  <c:v>20817</c:v>
                </c:pt>
                <c:pt idx="22">
                  <c:v>21751</c:v>
                </c:pt>
                <c:pt idx="23">
                  <c:v>22695</c:v>
                </c:pt>
                <c:pt idx="24">
                  <c:v>23552</c:v>
                </c:pt>
                <c:pt idx="25">
                  <c:v>24304</c:v>
                </c:pt>
                <c:pt idx="26">
                  <c:v>24367</c:v>
                </c:pt>
                <c:pt idx="27">
                  <c:v>24412</c:v>
                </c:pt>
                <c:pt idx="28">
                  <c:v>24863</c:v>
                </c:pt>
                <c:pt idx="29">
                  <c:v>25316</c:v>
                </c:pt>
                <c:pt idx="30">
                  <c:v>25712</c:v>
                </c:pt>
                <c:pt idx="31">
                  <c:v>26115</c:v>
                </c:pt>
                <c:pt idx="32">
                  <c:v>26499</c:v>
                </c:pt>
                <c:pt idx="33">
                  <c:v>26523</c:v>
                </c:pt>
                <c:pt idx="34">
                  <c:v>26555</c:v>
                </c:pt>
                <c:pt idx="35">
                  <c:v>26847</c:v>
                </c:pt>
                <c:pt idx="36">
                  <c:v>27137</c:v>
                </c:pt>
                <c:pt idx="37">
                  <c:v>27369</c:v>
                </c:pt>
                <c:pt idx="38">
                  <c:v>27553</c:v>
                </c:pt>
                <c:pt idx="39">
                  <c:v>27788</c:v>
                </c:pt>
                <c:pt idx="40">
                  <c:v>27797</c:v>
                </c:pt>
                <c:pt idx="41">
                  <c:v>27815</c:v>
                </c:pt>
                <c:pt idx="42">
                  <c:v>28052</c:v>
                </c:pt>
                <c:pt idx="43">
                  <c:v>28247</c:v>
                </c:pt>
                <c:pt idx="44">
                  <c:v>28514</c:v>
                </c:pt>
                <c:pt idx="45">
                  <c:v>28865</c:v>
                </c:pt>
                <c:pt idx="46">
                  <c:v>29257</c:v>
                </c:pt>
                <c:pt idx="47">
                  <c:v>29369</c:v>
                </c:pt>
                <c:pt idx="48">
                  <c:v>29435</c:v>
                </c:pt>
                <c:pt idx="49">
                  <c:v>29850</c:v>
                </c:pt>
                <c:pt idx="50">
                  <c:v>30356</c:v>
                </c:pt>
                <c:pt idx="51">
                  <c:v>30901</c:v>
                </c:pt>
                <c:pt idx="52">
                  <c:v>31458</c:v>
                </c:pt>
                <c:pt idx="53">
                  <c:v>32112</c:v>
                </c:pt>
                <c:pt idx="54">
                  <c:v>32337</c:v>
                </c:pt>
                <c:pt idx="55">
                  <c:v>32394</c:v>
                </c:pt>
                <c:pt idx="56">
                  <c:v>33078</c:v>
                </c:pt>
                <c:pt idx="57">
                  <c:v>34077</c:v>
                </c:pt>
                <c:pt idx="58">
                  <c:v>35156</c:v>
                </c:pt>
                <c:pt idx="59">
                  <c:v>36308</c:v>
                </c:pt>
                <c:pt idx="60">
                  <c:v>37381</c:v>
                </c:pt>
                <c:pt idx="61">
                  <c:v>37539</c:v>
                </c:pt>
                <c:pt idx="62">
                  <c:v>37669</c:v>
                </c:pt>
                <c:pt idx="63">
                  <c:v>38782</c:v>
                </c:pt>
                <c:pt idx="64">
                  <c:v>39991</c:v>
                </c:pt>
                <c:pt idx="65">
                  <c:v>41103</c:v>
                </c:pt>
                <c:pt idx="66">
                  <c:v>42105</c:v>
                </c:pt>
                <c:pt idx="67">
                  <c:v>43292</c:v>
                </c:pt>
                <c:pt idx="68">
                  <c:v>43582</c:v>
                </c:pt>
                <c:pt idx="69">
                  <c:v>43797</c:v>
                </c:pt>
                <c:pt idx="70">
                  <c:v>44640</c:v>
                </c:pt>
                <c:pt idx="71">
                  <c:v>45462</c:v>
                </c:pt>
                <c:pt idx="72">
                  <c:v>46360</c:v>
                </c:pt>
                <c:pt idx="73">
                  <c:v>47557</c:v>
                </c:pt>
                <c:pt idx="74">
                  <c:v>48668</c:v>
                </c:pt>
                <c:pt idx="75">
                  <c:v>48952</c:v>
                </c:pt>
                <c:pt idx="76">
                  <c:v>49193</c:v>
                </c:pt>
                <c:pt idx="77">
                  <c:v>49825</c:v>
                </c:pt>
                <c:pt idx="78">
                  <c:v>50753</c:v>
                </c:pt>
                <c:pt idx="79">
                  <c:v>51692</c:v>
                </c:pt>
                <c:pt idx="80">
                  <c:v>52470</c:v>
                </c:pt>
                <c:pt idx="81">
                  <c:v>53427</c:v>
                </c:pt>
                <c:pt idx="82">
                  <c:v>53827</c:v>
                </c:pt>
                <c:pt idx="83">
                  <c:v>54032</c:v>
                </c:pt>
                <c:pt idx="84">
                  <c:v>54481</c:v>
                </c:pt>
                <c:pt idx="85">
                  <c:v>54976</c:v>
                </c:pt>
                <c:pt idx="86">
                  <c:v>55392</c:v>
                </c:pt>
                <c:pt idx="87">
                  <c:v>55937</c:v>
                </c:pt>
                <c:pt idx="88">
                  <c:v>56515</c:v>
                </c:pt>
                <c:pt idx="89">
                  <c:v>56675</c:v>
                </c:pt>
                <c:pt idx="90">
                  <c:v>56811</c:v>
                </c:pt>
                <c:pt idx="91">
                  <c:v>57121</c:v>
                </c:pt>
                <c:pt idx="92">
                  <c:v>57543</c:v>
                </c:pt>
                <c:pt idx="93">
                  <c:v>58038</c:v>
                </c:pt>
                <c:pt idx="94">
                  <c:v>58468</c:v>
                </c:pt>
                <c:pt idx="95">
                  <c:v>58555</c:v>
                </c:pt>
                <c:pt idx="96">
                  <c:v>58613</c:v>
                </c:pt>
                <c:pt idx="97">
                  <c:v>58651</c:v>
                </c:pt>
                <c:pt idx="98">
                  <c:v>58680</c:v>
                </c:pt>
                <c:pt idx="99">
                  <c:v>58909</c:v>
                </c:pt>
                <c:pt idx="100">
                  <c:v>59172</c:v>
                </c:pt>
                <c:pt idx="101">
                  <c:v>59712</c:v>
                </c:pt>
                <c:pt idx="102">
                  <c:v>60215</c:v>
                </c:pt>
                <c:pt idx="103">
                  <c:v>60388</c:v>
                </c:pt>
                <c:pt idx="104">
                  <c:v>60504</c:v>
                </c:pt>
                <c:pt idx="105">
                  <c:v>60881</c:v>
                </c:pt>
                <c:pt idx="106">
                  <c:v>61194</c:v>
                </c:pt>
                <c:pt idx="107">
                  <c:v>61579</c:v>
                </c:pt>
                <c:pt idx="108">
                  <c:v>62130</c:v>
                </c:pt>
                <c:pt idx="109">
                  <c:v>62777</c:v>
                </c:pt>
                <c:pt idx="110">
                  <c:v>62955</c:v>
                </c:pt>
                <c:pt idx="111">
                  <c:v>63149</c:v>
                </c:pt>
                <c:pt idx="112">
                  <c:v>63607</c:v>
                </c:pt>
                <c:pt idx="113">
                  <c:v>64033</c:v>
                </c:pt>
                <c:pt idx="114">
                  <c:v>64533</c:v>
                </c:pt>
                <c:pt idx="115">
                  <c:v>65133</c:v>
                </c:pt>
                <c:pt idx="116">
                  <c:v>65780</c:v>
                </c:pt>
                <c:pt idx="117">
                  <c:v>65964</c:v>
                </c:pt>
                <c:pt idx="118">
                  <c:v>66115</c:v>
                </c:pt>
                <c:pt idx="119">
                  <c:v>66596</c:v>
                </c:pt>
                <c:pt idx="120">
                  <c:v>67018</c:v>
                </c:pt>
                <c:pt idx="121">
                  <c:v>67586</c:v>
                </c:pt>
                <c:pt idx="122">
                  <c:v>68173</c:v>
                </c:pt>
                <c:pt idx="123">
                  <c:v>68791</c:v>
                </c:pt>
                <c:pt idx="124">
                  <c:v>68945</c:v>
                </c:pt>
                <c:pt idx="125">
                  <c:v>69100</c:v>
                </c:pt>
                <c:pt idx="126">
                  <c:v>69556</c:v>
                </c:pt>
                <c:pt idx="127">
                  <c:v>70015</c:v>
                </c:pt>
                <c:pt idx="128">
                  <c:v>70541</c:v>
                </c:pt>
                <c:pt idx="129">
                  <c:v>71073</c:v>
                </c:pt>
                <c:pt idx="130">
                  <c:v>71635</c:v>
                </c:pt>
                <c:pt idx="131">
                  <c:v>71857</c:v>
                </c:pt>
                <c:pt idx="132">
                  <c:v>72027</c:v>
                </c:pt>
                <c:pt idx="133">
                  <c:v>72503</c:v>
                </c:pt>
                <c:pt idx="134">
                  <c:v>72935</c:v>
                </c:pt>
                <c:pt idx="135">
                  <c:v>73412</c:v>
                </c:pt>
                <c:pt idx="136">
                  <c:v>73961</c:v>
                </c:pt>
                <c:pt idx="137">
                  <c:v>74472</c:v>
                </c:pt>
                <c:pt idx="138">
                  <c:v>74681</c:v>
                </c:pt>
                <c:pt idx="139">
                  <c:v>74831</c:v>
                </c:pt>
                <c:pt idx="140">
                  <c:v>75221</c:v>
                </c:pt>
                <c:pt idx="141">
                  <c:v>75639</c:v>
                </c:pt>
                <c:pt idx="142">
                  <c:v>76103</c:v>
                </c:pt>
                <c:pt idx="143">
                  <c:v>76549</c:v>
                </c:pt>
                <c:pt idx="144">
                  <c:v>77006</c:v>
                </c:pt>
                <c:pt idx="145">
                  <c:v>77184</c:v>
                </c:pt>
                <c:pt idx="146">
                  <c:v>77300</c:v>
                </c:pt>
                <c:pt idx="147">
                  <c:v>77589</c:v>
                </c:pt>
                <c:pt idx="148">
                  <c:v>77919</c:v>
                </c:pt>
                <c:pt idx="149">
                  <c:v>78331</c:v>
                </c:pt>
                <c:pt idx="150">
                  <c:v>78704</c:v>
                </c:pt>
                <c:pt idx="151">
                  <c:v>79144</c:v>
                </c:pt>
                <c:pt idx="152">
                  <c:v>79331</c:v>
                </c:pt>
                <c:pt idx="153">
                  <c:v>79498</c:v>
                </c:pt>
                <c:pt idx="154">
                  <c:v>79841</c:v>
                </c:pt>
                <c:pt idx="155">
                  <c:v>80213</c:v>
                </c:pt>
                <c:pt idx="156">
                  <c:v>80665</c:v>
                </c:pt>
                <c:pt idx="157">
                  <c:v>81082</c:v>
                </c:pt>
                <c:pt idx="158">
                  <c:v>81549</c:v>
                </c:pt>
                <c:pt idx="159">
                  <c:v>81811</c:v>
                </c:pt>
                <c:pt idx="160">
                  <c:v>82055</c:v>
                </c:pt>
                <c:pt idx="161">
                  <c:v>82534</c:v>
                </c:pt>
                <c:pt idx="162">
                  <c:v>83082</c:v>
                </c:pt>
                <c:pt idx="163">
                  <c:v>83571</c:v>
                </c:pt>
                <c:pt idx="164">
                  <c:v>84005</c:v>
                </c:pt>
                <c:pt idx="165">
                  <c:v>84470</c:v>
                </c:pt>
                <c:pt idx="166">
                  <c:v>84763</c:v>
                </c:pt>
                <c:pt idx="167">
                  <c:v>84991</c:v>
                </c:pt>
                <c:pt idx="168">
                  <c:v>85347</c:v>
                </c:pt>
                <c:pt idx="169">
                  <c:v>85783</c:v>
                </c:pt>
                <c:pt idx="170">
                  <c:v>86173</c:v>
                </c:pt>
                <c:pt idx="171">
                  <c:v>86542</c:v>
                </c:pt>
                <c:pt idx="172">
                  <c:v>86924</c:v>
                </c:pt>
                <c:pt idx="173">
                  <c:v>87115</c:v>
                </c:pt>
                <c:pt idx="174">
                  <c:v>87257</c:v>
                </c:pt>
                <c:pt idx="175">
                  <c:v>87556</c:v>
                </c:pt>
                <c:pt idx="176">
                  <c:v>87875</c:v>
                </c:pt>
                <c:pt idx="177">
                  <c:v>88132</c:v>
                </c:pt>
                <c:pt idx="178">
                  <c:v>88422</c:v>
                </c:pt>
                <c:pt idx="179">
                  <c:v>88682</c:v>
                </c:pt>
                <c:pt idx="180">
                  <c:v>88834</c:v>
                </c:pt>
                <c:pt idx="181">
                  <c:v>88947</c:v>
                </c:pt>
                <c:pt idx="182">
                  <c:v>89220</c:v>
                </c:pt>
                <c:pt idx="183">
                  <c:v>89469</c:v>
                </c:pt>
                <c:pt idx="184">
                  <c:v>89713</c:v>
                </c:pt>
                <c:pt idx="185">
                  <c:v>89892</c:v>
                </c:pt>
                <c:pt idx="186">
                  <c:v>90130</c:v>
                </c:pt>
                <c:pt idx="187">
                  <c:v>90181</c:v>
                </c:pt>
                <c:pt idx="188">
                  <c:v>90242</c:v>
                </c:pt>
                <c:pt idx="189">
                  <c:v>90300</c:v>
                </c:pt>
                <c:pt idx="190">
                  <c:v>90360</c:v>
                </c:pt>
                <c:pt idx="191">
                  <c:v>90568</c:v>
                </c:pt>
                <c:pt idx="192">
                  <c:v>90786</c:v>
                </c:pt>
                <c:pt idx="193">
                  <c:v>91011</c:v>
                </c:pt>
                <c:pt idx="194">
                  <c:v>91104</c:v>
                </c:pt>
                <c:pt idx="195">
                  <c:v>91162</c:v>
                </c:pt>
                <c:pt idx="196">
                  <c:v>91398</c:v>
                </c:pt>
                <c:pt idx="197">
                  <c:v>91618</c:v>
                </c:pt>
                <c:pt idx="198">
                  <c:v>91859</c:v>
                </c:pt>
                <c:pt idx="199">
                  <c:v>92108</c:v>
                </c:pt>
                <c:pt idx="200">
                  <c:v>92359</c:v>
                </c:pt>
                <c:pt idx="201">
                  <c:v>92469</c:v>
                </c:pt>
                <c:pt idx="202">
                  <c:v>92538</c:v>
                </c:pt>
                <c:pt idx="203">
                  <c:v>92742</c:v>
                </c:pt>
                <c:pt idx="204">
                  <c:v>92902</c:v>
                </c:pt>
                <c:pt idx="205">
                  <c:v>93123</c:v>
                </c:pt>
                <c:pt idx="206">
                  <c:v>93302</c:v>
                </c:pt>
                <c:pt idx="207">
                  <c:v>93515</c:v>
                </c:pt>
                <c:pt idx="208">
                  <c:v>93577</c:v>
                </c:pt>
                <c:pt idx="209">
                  <c:v>93632</c:v>
                </c:pt>
                <c:pt idx="210">
                  <c:v>93814</c:v>
                </c:pt>
                <c:pt idx="211">
                  <c:v>94013</c:v>
                </c:pt>
                <c:pt idx="212">
                  <c:v>94190</c:v>
                </c:pt>
                <c:pt idx="213">
                  <c:v>94350</c:v>
                </c:pt>
                <c:pt idx="214">
                  <c:v>94562</c:v>
                </c:pt>
                <c:pt idx="215">
                  <c:v>94628</c:v>
                </c:pt>
                <c:pt idx="216">
                  <c:v>94678</c:v>
                </c:pt>
                <c:pt idx="217">
                  <c:v>94825</c:v>
                </c:pt>
                <c:pt idx="218">
                  <c:v>94955</c:v>
                </c:pt>
                <c:pt idx="219">
                  <c:v>95100</c:v>
                </c:pt>
                <c:pt idx="220">
                  <c:v>95227</c:v>
                </c:pt>
                <c:pt idx="221">
                  <c:v>95356</c:v>
                </c:pt>
                <c:pt idx="222">
                  <c:v>95394</c:v>
                </c:pt>
                <c:pt idx="223">
                  <c:v>95428</c:v>
                </c:pt>
                <c:pt idx="224">
                  <c:v>95532</c:v>
                </c:pt>
                <c:pt idx="225">
                  <c:v>95648</c:v>
                </c:pt>
                <c:pt idx="226">
                  <c:v>95721</c:v>
                </c:pt>
                <c:pt idx="227">
                  <c:v>95826</c:v>
                </c:pt>
                <c:pt idx="228">
                  <c:v>95930</c:v>
                </c:pt>
                <c:pt idx="229">
                  <c:v>95956</c:v>
                </c:pt>
                <c:pt idx="230">
                  <c:v>95975</c:v>
                </c:pt>
                <c:pt idx="231">
                  <c:v>96056</c:v>
                </c:pt>
                <c:pt idx="232">
                  <c:v>96135</c:v>
                </c:pt>
                <c:pt idx="233">
                  <c:v>96218</c:v>
                </c:pt>
                <c:pt idx="234">
                  <c:v>96290</c:v>
                </c:pt>
                <c:pt idx="235">
                  <c:v>96388</c:v>
                </c:pt>
                <c:pt idx="236">
                  <c:v>96406</c:v>
                </c:pt>
                <c:pt idx="237">
                  <c:v>96425</c:v>
                </c:pt>
                <c:pt idx="238">
                  <c:v>96519</c:v>
                </c:pt>
                <c:pt idx="239">
                  <c:v>96595</c:v>
                </c:pt>
                <c:pt idx="240">
                  <c:v>96672</c:v>
                </c:pt>
                <c:pt idx="241">
                  <c:v>96735</c:v>
                </c:pt>
                <c:pt idx="242">
                  <c:v>96838</c:v>
                </c:pt>
                <c:pt idx="243">
                  <c:v>96864</c:v>
                </c:pt>
                <c:pt idx="244">
                  <c:v>96874</c:v>
                </c:pt>
                <c:pt idx="245">
                  <c:v>96953</c:v>
                </c:pt>
                <c:pt idx="246">
                  <c:v>97032</c:v>
                </c:pt>
                <c:pt idx="247">
                  <c:v>97081</c:v>
                </c:pt>
                <c:pt idx="248">
                  <c:v>97154</c:v>
                </c:pt>
                <c:pt idx="249">
                  <c:v>97247</c:v>
                </c:pt>
                <c:pt idx="250">
                  <c:v>97262</c:v>
                </c:pt>
                <c:pt idx="251">
                  <c:v>97280</c:v>
                </c:pt>
                <c:pt idx="252">
                  <c:v>97344</c:v>
                </c:pt>
                <c:pt idx="253">
                  <c:v>97379</c:v>
                </c:pt>
                <c:pt idx="254">
                  <c:v>97432</c:v>
                </c:pt>
                <c:pt idx="255">
                  <c:v>97491</c:v>
                </c:pt>
                <c:pt idx="256">
                  <c:v>97561</c:v>
                </c:pt>
                <c:pt idx="257">
                  <c:v>97577</c:v>
                </c:pt>
                <c:pt idx="258">
                  <c:v>97590</c:v>
                </c:pt>
                <c:pt idx="259">
                  <c:v>97638</c:v>
                </c:pt>
                <c:pt idx="260">
                  <c:v>97689</c:v>
                </c:pt>
                <c:pt idx="261">
                  <c:v>97732</c:v>
                </c:pt>
                <c:pt idx="262">
                  <c:v>97778</c:v>
                </c:pt>
                <c:pt idx="263">
                  <c:v>97850</c:v>
                </c:pt>
                <c:pt idx="264">
                  <c:v>97869</c:v>
                </c:pt>
                <c:pt idx="265">
                  <c:v>97875</c:v>
                </c:pt>
                <c:pt idx="266">
                  <c:v>97920</c:v>
                </c:pt>
                <c:pt idx="267">
                  <c:v>97967</c:v>
                </c:pt>
                <c:pt idx="268">
                  <c:v>98010</c:v>
                </c:pt>
                <c:pt idx="269">
                  <c:v>98068</c:v>
                </c:pt>
                <c:pt idx="270">
                  <c:v>98137</c:v>
                </c:pt>
                <c:pt idx="271">
                  <c:v>98153</c:v>
                </c:pt>
                <c:pt idx="272">
                  <c:v>98159</c:v>
                </c:pt>
                <c:pt idx="273">
                  <c:v>98201</c:v>
                </c:pt>
                <c:pt idx="274">
                  <c:v>98207</c:v>
                </c:pt>
                <c:pt idx="275">
                  <c:v>98234</c:v>
                </c:pt>
                <c:pt idx="276">
                  <c:v>98280</c:v>
                </c:pt>
                <c:pt idx="277">
                  <c:v>98318</c:v>
                </c:pt>
                <c:pt idx="278">
                  <c:v>98326</c:v>
                </c:pt>
                <c:pt idx="279">
                  <c:v>98333</c:v>
                </c:pt>
                <c:pt idx="280">
                  <c:v>98363</c:v>
                </c:pt>
                <c:pt idx="281">
                  <c:v>98392</c:v>
                </c:pt>
                <c:pt idx="282">
                  <c:v>98430</c:v>
                </c:pt>
                <c:pt idx="283">
                  <c:v>98454</c:v>
                </c:pt>
                <c:pt idx="284">
                  <c:v>98502</c:v>
                </c:pt>
                <c:pt idx="285">
                  <c:v>98511</c:v>
                </c:pt>
                <c:pt idx="286">
                  <c:v>98518</c:v>
                </c:pt>
                <c:pt idx="287">
                  <c:v>98546</c:v>
                </c:pt>
                <c:pt idx="288">
                  <c:v>98592</c:v>
                </c:pt>
                <c:pt idx="289">
                  <c:v>98629</c:v>
                </c:pt>
                <c:pt idx="290">
                  <c:v>98657</c:v>
                </c:pt>
                <c:pt idx="291">
                  <c:v>98715</c:v>
                </c:pt>
                <c:pt idx="292">
                  <c:v>98732</c:v>
                </c:pt>
                <c:pt idx="293">
                  <c:v>98743</c:v>
                </c:pt>
                <c:pt idx="294">
                  <c:v>98801</c:v>
                </c:pt>
                <c:pt idx="295">
                  <c:v>98833</c:v>
                </c:pt>
                <c:pt idx="296">
                  <c:v>98892</c:v>
                </c:pt>
                <c:pt idx="297">
                  <c:v>98992</c:v>
                </c:pt>
                <c:pt idx="298">
                  <c:v>99136</c:v>
                </c:pt>
                <c:pt idx="299">
                  <c:v>99186</c:v>
                </c:pt>
                <c:pt idx="300">
                  <c:v>99220</c:v>
                </c:pt>
                <c:pt idx="301">
                  <c:v>99337</c:v>
                </c:pt>
                <c:pt idx="302">
                  <c:v>99494</c:v>
                </c:pt>
                <c:pt idx="303">
                  <c:v>99664</c:v>
                </c:pt>
                <c:pt idx="304">
                  <c:v>99704</c:v>
                </c:pt>
                <c:pt idx="305">
                  <c:v>99885</c:v>
                </c:pt>
                <c:pt idx="306">
                  <c:v>99935</c:v>
                </c:pt>
                <c:pt idx="307">
                  <c:v>99970</c:v>
                </c:pt>
                <c:pt idx="308">
                  <c:v>100174</c:v>
                </c:pt>
                <c:pt idx="309">
                  <c:v>100351</c:v>
                </c:pt>
                <c:pt idx="310">
                  <c:v>100543</c:v>
                </c:pt>
                <c:pt idx="311">
                  <c:v>100751</c:v>
                </c:pt>
                <c:pt idx="312">
                  <c:v>101002</c:v>
                </c:pt>
                <c:pt idx="313">
                  <c:v>101075</c:v>
                </c:pt>
                <c:pt idx="314">
                  <c:v>101118</c:v>
                </c:pt>
                <c:pt idx="315">
                  <c:v>101302</c:v>
                </c:pt>
                <c:pt idx="316">
                  <c:v>101452</c:v>
                </c:pt>
                <c:pt idx="317">
                  <c:v>101616</c:v>
                </c:pt>
                <c:pt idx="318">
                  <c:v>101804</c:v>
                </c:pt>
                <c:pt idx="319">
                  <c:v>102070</c:v>
                </c:pt>
                <c:pt idx="320">
                  <c:v>102124</c:v>
                </c:pt>
                <c:pt idx="321">
                  <c:v>102162</c:v>
                </c:pt>
                <c:pt idx="322">
                  <c:v>102345</c:v>
                </c:pt>
                <c:pt idx="323">
                  <c:v>102555</c:v>
                </c:pt>
                <c:pt idx="324">
                  <c:v>102594</c:v>
                </c:pt>
                <c:pt idx="325">
                  <c:v>102834</c:v>
                </c:pt>
                <c:pt idx="326">
                  <c:v>103113</c:v>
                </c:pt>
                <c:pt idx="327">
                  <c:v>103192</c:v>
                </c:pt>
                <c:pt idx="328">
                  <c:v>103256</c:v>
                </c:pt>
                <c:pt idx="329">
                  <c:v>103443</c:v>
                </c:pt>
                <c:pt idx="330">
                  <c:v>103636</c:v>
                </c:pt>
                <c:pt idx="331">
                  <c:v>103837</c:v>
                </c:pt>
                <c:pt idx="332">
                  <c:v>104048</c:v>
                </c:pt>
                <c:pt idx="333">
                  <c:v>104268</c:v>
                </c:pt>
                <c:pt idx="334">
                  <c:v>104346</c:v>
                </c:pt>
                <c:pt idx="335">
                  <c:v>104369</c:v>
                </c:pt>
                <c:pt idx="336">
                  <c:v>104539</c:v>
                </c:pt>
                <c:pt idx="337">
                  <c:v>104686</c:v>
                </c:pt>
                <c:pt idx="338">
                  <c:v>104847</c:v>
                </c:pt>
                <c:pt idx="339">
                  <c:v>104959</c:v>
                </c:pt>
                <c:pt idx="340">
                  <c:v>105078</c:v>
                </c:pt>
                <c:pt idx="341">
                  <c:v>105100</c:v>
                </c:pt>
                <c:pt idx="342">
                  <c:v>105107</c:v>
                </c:pt>
                <c:pt idx="343">
                  <c:v>105178</c:v>
                </c:pt>
                <c:pt idx="344">
                  <c:v>105255</c:v>
                </c:pt>
                <c:pt idx="345">
                  <c:v>105343</c:v>
                </c:pt>
                <c:pt idx="346">
                  <c:v>105417</c:v>
                </c:pt>
                <c:pt idx="347">
                  <c:v>105504</c:v>
                </c:pt>
                <c:pt idx="348">
                  <c:v>105522</c:v>
                </c:pt>
                <c:pt idx="349">
                  <c:v>105535</c:v>
                </c:pt>
                <c:pt idx="350">
                  <c:v>105611</c:v>
                </c:pt>
                <c:pt idx="351">
                  <c:v>105684</c:v>
                </c:pt>
                <c:pt idx="352">
                  <c:v>105730</c:v>
                </c:pt>
                <c:pt idx="353">
                  <c:v>105804</c:v>
                </c:pt>
                <c:pt idx="354">
                  <c:v>105894</c:v>
                </c:pt>
                <c:pt idx="355">
                  <c:v>105920</c:v>
                </c:pt>
                <c:pt idx="356">
                  <c:v>105929</c:v>
                </c:pt>
                <c:pt idx="357">
                  <c:v>105985</c:v>
                </c:pt>
                <c:pt idx="358">
                  <c:v>106043</c:v>
                </c:pt>
                <c:pt idx="359">
                  <c:v>106082</c:v>
                </c:pt>
                <c:pt idx="360">
                  <c:v>106092</c:v>
                </c:pt>
                <c:pt idx="361">
                  <c:v>106092</c:v>
                </c:pt>
                <c:pt idx="362">
                  <c:v>106120</c:v>
                </c:pt>
                <c:pt idx="363">
                  <c:v>106149</c:v>
                </c:pt>
                <c:pt idx="364">
                  <c:v>106175</c:v>
                </c:pt>
                <c:pt idx="365">
                  <c:v>106209</c:v>
                </c:pt>
                <c:pt idx="366">
                  <c:v>106212</c:v>
                </c:pt>
                <c:pt idx="367">
                  <c:v>106215</c:v>
                </c:pt>
                <c:pt idx="368">
                  <c:v>106246</c:v>
                </c:pt>
                <c:pt idx="369">
                  <c:v>106288</c:v>
                </c:pt>
                <c:pt idx="370">
                  <c:v>106322</c:v>
                </c:pt>
                <c:pt idx="371">
                  <c:v>106373</c:v>
                </c:pt>
                <c:pt idx="372">
                  <c:v>106449</c:v>
                </c:pt>
                <c:pt idx="373">
                  <c:v>106460</c:v>
                </c:pt>
                <c:pt idx="374">
                  <c:v>106472</c:v>
                </c:pt>
                <c:pt idx="375">
                  <c:v>106510</c:v>
                </c:pt>
                <c:pt idx="376">
                  <c:v>106549</c:v>
                </c:pt>
                <c:pt idx="377">
                  <c:v>106596</c:v>
                </c:pt>
                <c:pt idx="378">
                  <c:v>106645</c:v>
                </c:pt>
                <c:pt idx="379">
                  <c:v>106705</c:v>
                </c:pt>
                <c:pt idx="380">
                  <c:v>106725</c:v>
                </c:pt>
                <c:pt idx="381">
                  <c:v>106735</c:v>
                </c:pt>
                <c:pt idx="382">
                  <c:v>106774</c:v>
                </c:pt>
                <c:pt idx="383">
                  <c:v>106822</c:v>
                </c:pt>
                <c:pt idx="384">
                  <c:v>106849</c:v>
                </c:pt>
                <c:pt idx="385">
                  <c:v>106874</c:v>
                </c:pt>
                <c:pt idx="386">
                  <c:v>106924</c:v>
                </c:pt>
                <c:pt idx="387">
                  <c:v>106928</c:v>
                </c:pt>
                <c:pt idx="388">
                  <c:v>106933</c:v>
                </c:pt>
                <c:pt idx="389">
                  <c:v>106954</c:v>
                </c:pt>
                <c:pt idx="390">
                  <c:v>106974</c:v>
                </c:pt>
                <c:pt idx="391">
                  <c:v>106996</c:v>
                </c:pt>
                <c:pt idx="392">
                  <c:v>107013</c:v>
                </c:pt>
                <c:pt idx="393">
                  <c:v>107039</c:v>
                </c:pt>
                <c:pt idx="394">
                  <c:v>107045</c:v>
                </c:pt>
                <c:pt idx="395">
                  <c:v>107047</c:v>
                </c:pt>
                <c:pt idx="396">
                  <c:v>107054</c:v>
                </c:pt>
                <c:pt idx="397">
                  <c:v>107064</c:v>
                </c:pt>
                <c:pt idx="398">
                  <c:v>107075</c:v>
                </c:pt>
                <c:pt idx="399">
                  <c:v>107083</c:v>
                </c:pt>
                <c:pt idx="400">
                  <c:v>107095</c:v>
                </c:pt>
                <c:pt idx="401">
                  <c:v>107096</c:v>
                </c:pt>
                <c:pt idx="402">
                  <c:v>107097</c:v>
                </c:pt>
                <c:pt idx="403">
                  <c:v>107104</c:v>
                </c:pt>
                <c:pt idx="404">
                  <c:v>107111</c:v>
                </c:pt>
                <c:pt idx="405">
                  <c:v>107116</c:v>
                </c:pt>
                <c:pt idx="406">
                  <c:v>107121</c:v>
                </c:pt>
                <c:pt idx="407">
                  <c:v>107135</c:v>
                </c:pt>
                <c:pt idx="408">
                  <c:v>107136</c:v>
                </c:pt>
                <c:pt idx="409">
                  <c:v>107138</c:v>
                </c:pt>
                <c:pt idx="410">
                  <c:v>107144</c:v>
                </c:pt>
                <c:pt idx="411">
                  <c:v>107149</c:v>
                </c:pt>
                <c:pt idx="412">
                  <c:v>107150</c:v>
                </c:pt>
                <c:pt idx="413">
                  <c:v>107151</c:v>
                </c:pt>
                <c:pt idx="414">
                  <c:v>107153</c:v>
                </c:pt>
                <c:pt idx="415">
                  <c:v>107156</c:v>
                </c:pt>
                <c:pt idx="416">
                  <c:v>107158</c:v>
                </c:pt>
                <c:pt idx="417">
                  <c:v>107158</c:v>
                </c:pt>
                <c:pt idx="418">
                  <c:v>107158</c:v>
                </c:pt>
                <c:pt idx="419">
                  <c:v>107161</c:v>
                </c:pt>
                <c:pt idx="420">
                  <c:v>107162</c:v>
                </c:pt>
                <c:pt idx="421">
                  <c:v>107165</c:v>
                </c:pt>
                <c:pt idx="422">
                  <c:v>107166</c:v>
                </c:pt>
                <c:pt idx="423">
                  <c:v>107166</c:v>
                </c:pt>
                <c:pt idx="424">
                  <c:v>107179</c:v>
                </c:pt>
                <c:pt idx="425">
                  <c:v>107180</c:v>
                </c:pt>
                <c:pt idx="426">
                  <c:v>107182</c:v>
                </c:pt>
                <c:pt idx="427">
                  <c:v>107185</c:v>
                </c:pt>
                <c:pt idx="428">
                  <c:v>107190</c:v>
                </c:pt>
                <c:pt idx="429">
                  <c:v>107199</c:v>
                </c:pt>
                <c:pt idx="430">
                  <c:v>107214</c:v>
                </c:pt>
                <c:pt idx="431">
                  <c:v>107216</c:v>
                </c:pt>
                <c:pt idx="432">
                  <c:v>107219</c:v>
                </c:pt>
                <c:pt idx="433">
                  <c:v>107219</c:v>
                </c:pt>
                <c:pt idx="434">
                  <c:v>107221</c:v>
                </c:pt>
                <c:pt idx="435">
                  <c:v>107223</c:v>
                </c:pt>
                <c:pt idx="436">
                  <c:v>107232</c:v>
                </c:pt>
                <c:pt idx="437">
                  <c:v>107234</c:v>
                </c:pt>
                <c:pt idx="438">
                  <c:v>107237</c:v>
                </c:pt>
                <c:pt idx="439">
                  <c:v>107239</c:v>
                </c:pt>
                <c:pt idx="440">
                  <c:v>107243</c:v>
                </c:pt>
                <c:pt idx="441">
                  <c:v>107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QI$1</c:f>
              <c:strCache>
                <c:ptCount val="44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4.XII.21</c:v>
                </c:pt>
                <c:pt idx="362">
                  <c:v>27.XII.21</c:v>
                </c:pt>
                <c:pt idx="363">
                  <c:v>28.XII.21</c:v>
                </c:pt>
                <c:pt idx="364">
                  <c:v>29.XII.21</c:v>
                </c:pt>
                <c:pt idx="365">
                  <c:v>30.XII.21</c:v>
                </c:pt>
                <c:pt idx="366">
                  <c:v>31.XII.21</c:v>
                </c:pt>
                <c:pt idx="367">
                  <c:v>2.I.22</c:v>
                </c:pt>
                <c:pt idx="368">
                  <c:v>3.I.22</c:v>
                </c:pt>
                <c:pt idx="369">
                  <c:v>4.I.22</c:v>
                </c:pt>
                <c:pt idx="370">
                  <c:v>5.I.22</c:v>
                </c:pt>
                <c:pt idx="371">
                  <c:v>6.I.22</c:v>
                </c:pt>
                <c:pt idx="372">
                  <c:v>7.I.22</c:v>
                </c:pt>
                <c:pt idx="373">
                  <c:v>8.I.22</c:v>
                </c:pt>
                <c:pt idx="374">
                  <c:v>9.I.22</c:v>
                </c:pt>
                <c:pt idx="375">
                  <c:v>10.I.22</c:v>
                </c:pt>
                <c:pt idx="376">
                  <c:v>11.I.22</c:v>
                </c:pt>
                <c:pt idx="377">
                  <c:v>12.I.22</c:v>
                </c:pt>
                <c:pt idx="378">
                  <c:v>13.I.22</c:v>
                </c:pt>
                <c:pt idx="379">
                  <c:v>14.I.22</c:v>
                </c:pt>
                <c:pt idx="380">
                  <c:v>15.I.22</c:v>
                </c:pt>
                <c:pt idx="381">
                  <c:v>16.I.22</c:v>
                </c:pt>
                <c:pt idx="382">
                  <c:v>17.I.22</c:v>
                </c:pt>
                <c:pt idx="383">
                  <c:v>18.I.22</c:v>
                </c:pt>
                <c:pt idx="384">
                  <c:v>19.I.22</c:v>
                </c:pt>
                <c:pt idx="385">
                  <c:v>20.I.22</c:v>
                </c:pt>
                <c:pt idx="386">
                  <c:v>21.I.22</c:v>
                </c:pt>
                <c:pt idx="387">
                  <c:v>22.I.22</c:v>
                </c:pt>
                <c:pt idx="388">
                  <c:v>23.I.22</c:v>
                </c:pt>
                <c:pt idx="389">
                  <c:v>24.I.22</c:v>
                </c:pt>
                <c:pt idx="390">
                  <c:v>25.I.22</c:v>
                </c:pt>
                <c:pt idx="391">
                  <c:v>26.I.22</c:v>
                </c:pt>
                <c:pt idx="392">
                  <c:v>27.I.22</c:v>
                </c:pt>
                <c:pt idx="393">
                  <c:v>28.I.22</c:v>
                </c:pt>
                <c:pt idx="394">
                  <c:v>29.I.22</c:v>
                </c:pt>
                <c:pt idx="395">
                  <c:v>30.I.22</c:v>
                </c:pt>
                <c:pt idx="396">
                  <c:v>31.I.22</c:v>
                </c:pt>
                <c:pt idx="397">
                  <c:v>1.II.22</c:v>
                </c:pt>
                <c:pt idx="398">
                  <c:v>2.II.22</c:v>
                </c:pt>
                <c:pt idx="399">
                  <c:v>3.II.22</c:v>
                </c:pt>
                <c:pt idx="400">
                  <c:v>4.II.22</c:v>
                </c:pt>
                <c:pt idx="401">
                  <c:v>5.II.22</c:v>
                </c:pt>
                <c:pt idx="402">
                  <c:v>6.II.22</c:v>
                </c:pt>
                <c:pt idx="403">
                  <c:v>7.II.22</c:v>
                </c:pt>
                <c:pt idx="404">
                  <c:v>8.II.22</c:v>
                </c:pt>
                <c:pt idx="405">
                  <c:v>9.II.22</c:v>
                </c:pt>
                <c:pt idx="406">
                  <c:v>10.II.22</c:v>
                </c:pt>
                <c:pt idx="407">
                  <c:v>11.II.22</c:v>
                </c:pt>
                <c:pt idx="408">
                  <c:v>12.II.22</c:v>
                </c:pt>
                <c:pt idx="409">
                  <c:v>14.II.22</c:v>
                </c:pt>
                <c:pt idx="410">
                  <c:v>15.II.22</c:v>
                </c:pt>
                <c:pt idx="411">
                  <c:v>16.II.22</c:v>
                </c:pt>
                <c:pt idx="412">
                  <c:v>17.II.22</c:v>
                </c:pt>
                <c:pt idx="413">
                  <c:v>18.II.22</c:v>
                </c:pt>
                <c:pt idx="414">
                  <c:v>19.II.22</c:v>
                </c:pt>
                <c:pt idx="415">
                  <c:v>21.II.22</c:v>
                </c:pt>
                <c:pt idx="416">
                  <c:v>22.II.22</c:v>
                </c:pt>
                <c:pt idx="417">
                  <c:v>23.II.22</c:v>
                </c:pt>
                <c:pt idx="418">
                  <c:v>24.II.22</c:v>
                </c:pt>
                <c:pt idx="419">
                  <c:v>25.II.22</c:v>
                </c:pt>
                <c:pt idx="420">
                  <c:v>28.II.22</c:v>
                </c:pt>
                <c:pt idx="421">
                  <c:v>1.III.22</c:v>
                </c:pt>
                <c:pt idx="422">
                  <c:v>2.III.22</c:v>
                </c:pt>
                <c:pt idx="423">
                  <c:v>3.III.22</c:v>
                </c:pt>
                <c:pt idx="424">
                  <c:v>4.III.22</c:v>
                </c:pt>
                <c:pt idx="425">
                  <c:v>5.III.22</c:v>
                </c:pt>
                <c:pt idx="426">
                  <c:v>7.III.22</c:v>
                </c:pt>
                <c:pt idx="427">
                  <c:v>8.III.22</c:v>
                </c:pt>
                <c:pt idx="428">
                  <c:v>9.III.22</c:v>
                </c:pt>
                <c:pt idx="429">
                  <c:v>10.III.22</c:v>
                </c:pt>
                <c:pt idx="430">
                  <c:v>11.III.22</c:v>
                </c:pt>
                <c:pt idx="431">
                  <c:v>12.III.22</c:v>
                </c:pt>
                <c:pt idx="432">
                  <c:v>14.III.22</c:v>
                </c:pt>
                <c:pt idx="433">
                  <c:v>15.III.22</c:v>
                </c:pt>
                <c:pt idx="434">
                  <c:v>16.III.22</c:v>
                </c:pt>
                <c:pt idx="435">
                  <c:v>17.III.22</c:v>
                </c:pt>
                <c:pt idx="436">
                  <c:v>18.III.22</c:v>
                </c:pt>
                <c:pt idx="437">
                  <c:v>21.III.22</c:v>
                </c:pt>
                <c:pt idx="438">
                  <c:v>22.III.22</c:v>
                </c:pt>
                <c:pt idx="439">
                  <c:v>23.III.22</c:v>
                </c:pt>
                <c:pt idx="440">
                  <c:v>24.III.22</c:v>
                </c:pt>
                <c:pt idx="441">
                  <c:v>25.III.22</c:v>
                </c:pt>
              </c:strCache>
            </c:strRef>
          </c:cat>
          <c:val>
            <c:numRef>
              <c:f>List1!$J$5:$QI$5</c:f>
              <c:numCache>
                <c:formatCode>General</c:formatCode>
                <c:ptCount val="442"/>
                <c:pt idx="0">
                  <c:v>1180</c:v>
                </c:pt>
                <c:pt idx="1">
                  <c:v>2129</c:v>
                </c:pt>
                <c:pt idx="2">
                  <c:v>3071</c:v>
                </c:pt>
                <c:pt idx="3">
                  <c:v>3408</c:v>
                </c:pt>
                <c:pt idx="4">
                  <c:v>3497</c:v>
                </c:pt>
                <c:pt idx="5">
                  <c:v>3887</c:v>
                </c:pt>
                <c:pt idx="6">
                  <c:v>4200</c:v>
                </c:pt>
                <c:pt idx="7">
                  <c:v>5394</c:v>
                </c:pt>
                <c:pt idx="8">
                  <c:v>6706</c:v>
                </c:pt>
                <c:pt idx="9">
                  <c:v>8204</c:v>
                </c:pt>
                <c:pt idx="10">
                  <c:v>9879</c:v>
                </c:pt>
                <c:pt idx="11">
                  <c:v>11685</c:v>
                </c:pt>
                <c:pt idx="12">
                  <c:v>12094</c:v>
                </c:pt>
                <c:pt idx="13">
                  <c:v>12387</c:v>
                </c:pt>
                <c:pt idx="14">
                  <c:v>14131</c:v>
                </c:pt>
                <c:pt idx="15">
                  <c:v>16076</c:v>
                </c:pt>
                <c:pt idx="16">
                  <c:v>17776</c:v>
                </c:pt>
                <c:pt idx="17">
                  <c:v>19679</c:v>
                </c:pt>
                <c:pt idx="18">
                  <c:v>21479</c:v>
                </c:pt>
                <c:pt idx="19">
                  <c:v>21814</c:v>
                </c:pt>
                <c:pt idx="20">
                  <c:v>22039</c:v>
                </c:pt>
                <c:pt idx="21">
                  <c:v>23595</c:v>
                </c:pt>
                <c:pt idx="22">
                  <c:v>24771</c:v>
                </c:pt>
                <c:pt idx="23">
                  <c:v>25898</c:v>
                </c:pt>
                <c:pt idx="24">
                  <c:v>26892</c:v>
                </c:pt>
                <c:pt idx="25">
                  <c:v>27722</c:v>
                </c:pt>
                <c:pt idx="26">
                  <c:v>27891</c:v>
                </c:pt>
                <c:pt idx="27">
                  <c:v>27973</c:v>
                </c:pt>
                <c:pt idx="28">
                  <c:v>28485</c:v>
                </c:pt>
                <c:pt idx="29">
                  <c:v>29023</c:v>
                </c:pt>
                <c:pt idx="30">
                  <c:v>29422</c:v>
                </c:pt>
                <c:pt idx="31">
                  <c:v>29798</c:v>
                </c:pt>
                <c:pt idx="32">
                  <c:v>30130</c:v>
                </c:pt>
                <c:pt idx="33">
                  <c:v>30155</c:v>
                </c:pt>
                <c:pt idx="34">
                  <c:v>30176</c:v>
                </c:pt>
                <c:pt idx="35">
                  <c:v>30419</c:v>
                </c:pt>
                <c:pt idx="36">
                  <c:v>30655</c:v>
                </c:pt>
                <c:pt idx="37">
                  <c:v>30878</c:v>
                </c:pt>
                <c:pt idx="38">
                  <c:v>31072</c:v>
                </c:pt>
                <c:pt idx="39">
                  <c:v>31347</c:v>
                </c:pt>
                <c:pt idx="40">
                  <c:v>31367</c:v>
                </c:pt>
                <c:pt idx="41">
                  <c:v>31379</c:v>
                </c:pt>
                <c:pt idx="42">
                  <c:v>31513</c:v>
                </c:pt>
                <c:pt idx="43">
                  <c:v>31651</c:v>
                </c:pt>
                <c:pt idx="44">
                  <c:v>31846</c:v>
                </c:pt>
                <c:pt idx="45">
                  <c:v>32077</c:v>
                </c:pt>
                <c:pt idx="46">
                  <c:v>32355</c:v>
                </c:pt>
                <c:pt idx="47">
                  <c:v>32454</c:v>
                </c:pt>
                <c:pt idx="48">
                  <c:v>32518</c:v>
                </c:pt>
                <c:pt idx="49">
                  <c:v>32874</c:v>
                </c:pt>
                <c:pt idx="50">
                  <c:v>33171</c:v>
                </c:pt>
                <c:pt idx="51">
                  <c:v>33433</c:v>
                </c:pt>
                <c:pt idx="52">
                  <c:v>33771</c:v>
                </c:pt>
                <c:pt idx="53">
                  <c:v>34217</c:v>
                </c:pt>
                <c:pt idx="54">
                  <c:v>34323</c:v>
                </c:pt>
                <c:pt idx="55">
                  <c:v>34370</c:v>
                </c:pt>
                <c:pt idx="56">
                  <c:v>34680</c:v>
                </c:pt>
                <c:pt idx="57">
                  <c:v>35159</c:v>
                </c:pt>
                <c:pt idx="58">
                  <c:v>35757</c:v>
                </c:pt>
                <c:pt idx="59">
                  <c:v>36410</c:v>
                </c:pt>
                <c:pt idx="60">
                  <c:v>36952</c:v>
                </c:pt>
                <c:pt idx="61">
                  <c:v>37026</c:v>
                </c:pt>
                <c:pt idx="62">
                  <c:v>37069</c:v>
                </c:pt>
                <c:pt idx="63">
                  <c:v>37615</c:v>
                </c:pt>
                <c:pt idx="64">
                  <c:v>38210</c:v>
                </c:pt>
                <c:pt idx="65">
                  <c:v>38771</c:v>
                </c:pt>
                <c:pt idx="66">
                  <c:v>39314</c:v>
                </c:pt>
                <c:pt idx="67">
                  <c:v>39905</c:v>
                </c:pt>
                <c:pt idx="68">
                  <c:v>40072</c:v>
                </c:pt>
                <c:pt idx="69">
                  <c:v>40181</c:v>
                </c:pt>
                <c:pt idx="70">
                  <c:v>40508</c:v>
                </c:pt>
                <c:pt idx="71">
                  <c:v>40905</c:v>
                </c:pt>
                <c:pt idx="72">
                  <c:v>41307</c:v>
                </c:pt>
                <c:pt idx="73">
                  <c:v>41784</c:v>
                </c:pt>
                <c:pt idx="74">
                  <c:v>42188</c:v>
                </c:pt>
                <c:pt idx="75">
                  <c:v>42326</c:v>
                </c:pt>
                <c:pt idx="76">
                  <c:v>42411</c:v>
                </c:pt>
                <c:pt idx="77">
                  <c:v>42663</c:v>
                </c:pt>
                <c:pt idx="78">
                  <c:v>43025</c:v>
                </c:pt>
                <c:pt idx="79">
                  <c:v>43380</c:v>
                </c:pt>
                <c:pt idx="80">
                  <c:v>43735</c:v>
                </c:pt>
                <c:pt idx="81">
                  <c:v>44064</c:v>
                </c:pt>
                <c:pt idx="82">
                  <c:v>44179</c:v>
                </c:pt>
                <c:pt idx="83">
                  <c:v>44249</c:v>
                </c:pt>
                <c:pt idx="84">
                  <c:v>44421</c:v>
                </c:pt>
                <c:pt idx="85">
                  <c:v>44614</c:v>
                </c:pt>
                <c:pt idx="86">
                  <c:v>44761</c:v>
                </c:pt>
                <c:pt idx="87">
                  <c:v>44954</c:v>
                </c:pt>
                <c:pt idx="88">
                  <c:v>45173</c:v>
                </c:pt>
                <c:pt idx="89">
                  <c:v>45236</c:v>
                </c:pt>
                <c:pt idx="90">
                  <c:v>45277</c:v>
                </c:pt>
                <c:pt idx="91">
                  <c:v>45402</c:v>
                </c:pt>
                <c:pt idx="92">
                  <c:v>45562</c:v>
                </c:pt>
                <c:pt idx="93">
                  <c:v>45721</c:v>
                </c:pt>
                <c:pt idx="94">
                  <c:v>45941</c:v>
                </c:pt>
                <c:pt idx="95">
                  <c:v>46018</c:v>
                </c:pt>
                <c:pt idx="96">
                  <c:v>46038</c:v>
                </c:pt>
                <c:pt idx="97">
                  <c:v>46066</c:v>
                </c:pt>
                <c:pt idx="98">
                  <c:v>46073</c:v>
                </c:pt>
                <c:pt idx="99">
                  <c:v>46163</c:v>
                </c:pt>
                <c:pt idx="100">
                  <c:v>46257</c:v>
                </c:pt>
                <c:pt idx="101">
                  <c:v>46425</c:v>
                </c:pt>
                <c:pt idx="102">
                  <c:v>46625</c:v>
                </c:pt>
                <c:pt idx="103">
                  <c:v>46670</c:v>
                </c:pt>
                <c:pt idx="104">
                  <c:v>46703</c:v>
                </c:pt>
                <c:pt idx="105">
                  <c:v>46839</c:v>
                </c:pt>
                <c:pt idx="106">
                  <c:v>46961</c:v>
                </c:pt>
                <c:pt idx="107">
                  <c:v>47066</c:v>
                </c:pt>
                <c:pt idx="108">
                  <c:v>47223</c:v>
                </c:pt>
                <c:pt idx="109">
                  <c:v>47398</c:v>
                </c:pt>
                <c:pt idx="110">
                  <c:v>47439</c:v>
                </c:pt>
                <c:pt idx="111">
                  <c:v>47494</c:v>
                </c:pt>
                <c:pt idx="112">
                  <c:v>47621</c:v>
                </c:pt>
                <c:pt idx="113">
                  <c:v>47741</c:v>
                </c:pt>
                <c:pt idx="114">
                  <c:v>47875</c:v>
                </c:pt>
                <c:pt idx="115">
                  <c:v>48021</c:v>
                </c:pt>
                <c:pt idx="116">
                  <c:v>48178</c:v>
                </c:pt>
                <c:pt idx="117">
                  <c:v>48234</c:v>
                </c:pt>
                <c:pt idx="118">
                  <c:v>48269</c:v>
                </c:pt>
                <c:pt idx="119">
                  <c:v>48381</c:v>
                </c:pt>
                <c:pt idx="120">
                  <c:v>48502</c:v>
                </c:pt>
                <c:pt idx="121">
                  <c:v>48620</c:v>
                </c:pt>
                <c:pt idx="122">
                  <c:v>48753</c:v>
                </c:pt>
                <c:pt idx="123">
                  <c:v>48892</c:v>
                </c:pt>
                <c:pt idx="124">
                  <c:v>48921</c:v>
                </c:pt>
                <c:pt idx="125">
                  <c:v>48950</c:v>
                </c:pt>
                <c:pt idx="126">
                  <c:v>49070</c:v>
                </c:pt>
                <c:pt idx="127">
                  <c:v>49195</c:v>
                </c:pt>
                <c:pt idx="128">
                  <c:v>49292</c:v>
                </c:pt>
                <c:pt idx="129">
                  <c:v>49409</c:v>
                </c:pt>
                <c:pt idx="130">
                  <c:v>49582</c:v>
                </c:pt>
                <c:pt idx="131">
                  <c:v>49644</c:v>
                </c:pt>
                <c:pt idx="132">
                  <c:v>49676</c:v>
                </c:pt>
                <c:pt idx="133">
                  <c:v>49775</c:v>
                </c:pt>
                <c:pt idx="134">
                  <c:v>49892</c:v>
                </c:pt>
                <c:pt idx="135">
                  <c:v>50022</c:v>
                </c:pt>
                <c:pt idx="136">
                  <c:v>50180</c:v>
                </c:pt>
                <c:pt idx="137">
                  <c:v>50306</c:v>
                </c:pt>
                <c:pt idx="138">
                  <c:v>50377</c:v>
                </c:pt>
                <c:pt idx="139">
                  <c:v>50409</c:v>
                </c:pt>
                <c:pt idx="140">
                  <c:v>50491</c:v>
                </c:pt>
                <c:pt idx="141">
                  <c:v>50583</c:v>
                </c:pt>
                <c:pt idx="142">
                  <c:v>50668</c:v>
                </c:pt>
                <c:pt idx="143">
                  <c:v>50768</c:v>
                </c:pt>
                <c:pt idx="144">
                  <c:v>50875</c:v>
                </c:pt>
                <c:pt idx="145">
                  <c:v>50905</c:v>
                </c:pt>
                <c:pt idx="146">
                  <c:v>50920</c:v>
                </c:pt>
                <c:pt idx="147">
                  <c:v>50969</c:v>
                </c:pt>
                <c:pt idx="148">
                  <c:v>51029</c:v>
                </c:pt>
                <c:pt idx="149">
                  <c:v>51121</c:v>
                </c:pt>
                <c:pt idx="150">
                  <c:v>51203</c:v>
                </c:pt>
                <c:pt idx="151">
                  <c:v>51307</c:v>
                </c:pt>
                <c:pt idx="152">
                  <c:v>51344</c:v>
                </c:pt>
                <c:pt idx="153">
                  <c:v>51377</c:v>
                </c:pt>
                <c:pt idx="154">
                  <c:v>51452</c:v>
                </c:pt>
                <c:pt idx="155">
                  <c:v>51532</c:v>
                </c:pt>
                <c:pt idx="156">
                  <c:v>51626</c:v>
                </c:pt>
                <c:pt idx="157">
                  <c:v>51697</c:v>
                </c:pt>
                <c:pt idx="158">
                  <c:v>51795</c:v>
                </c:pt>
                <c:pt idx="159">
                  <c:v>51822</c:v>
                </c:pt>
                <c:pt idx="160">
                  <c:v>51855</c:v>
                </c:pt>
                <c:pt idx="161">
                  <c:v>51934</c:v>
                </c:pt>
                <c:pt idx="162">
                  <c:v>52032</c:v>
                </c:pt>
                <c:pt idx="163">
                  <c:v>52119</c:v>
                </c:pt>
                <c:pt idx="164">
                  <c:v>52204</c:v>
                </c:pt>
                <c:pt idx="165">
                  <c:v>52298</c:v>
                </c:pt>
                <c:pt idx="166">
                  <c:v>52327</c:v>
                </c:pt>
                <c:pt idx="167">
                  <c:v>52357</c:v>
                </c:pt>
                <c:pt idx="168">
                  <c:v>52427</c:v>
                </c:pt>
                <c:pt idx="169">
                  <c:v>52481</c:v>
                </c:pt>
                <c:pt idx="170">
                  <c:v>52556</c:v>
                </c:pt>
                <c:pt idx="171">
                  <c:v>52634</c:v>
                </c:pt>
                <c:pt idx="172">
                  <c:v>52712</c:v>
                </c:pt>
                <c:pt idx="173">
                  <c:v>52740</c:v>
                </c:pt>
                <c:pt idx="174">
                  <c:v>52765</c:v>
                </c:pt>
                <c:pt idx="175">
                  <c:v>52804</c:v>
                </c:pt>
                <c:pt idx="176">
                  <c:v>52854</c:v>
                </c:pt>
                <c:pt idx="177">
                  <c:v>52909</c:v>
                </c:pt>
                <c:pt idx="178">
                  <c:v>52961</c:v>
                </c:pt>
                <c:pt idx="179">
                  <c:v>53018</c:v>
                </c:pt>
                <c:pt idx="180">
                  <c:v>53032</c:v>
                </c:pt>
                <c:pt idx="181">
                  <c:v>53044</c:v>
                </c:pt>
                <c:pt idx="182">
                  <c:v>53088</c:v>
                </c:pt>
                <c:pt idx="183">
                  <c:v>53133</c:v>
                </c:pt>
                <c:pt idx="184">
                  <c:v>53192</c:v>
                </c:pt>
                <c:pt idx="185">
                  <c:v>53236</c:v>
                </c:pt>
                <c:pt idx="186">
                  <c:v>53292</c:v>
                </c:pt>
                <c:pt idx="187">
                  <c:v>53304</c:v>
                </c:pt>
                <c:pt idx="188">
                  <c:v>53316</c:v>
                </c:pt>
                <c:pt idx="189">
                  <c:v>53322</c:v>
                </c:pt>
                <c:pt idx="190">
                  <c:v>53331</c:v>
                </c:pt>
                <c:pt idx="191">
                  <c:v>53371</c:v>
                </c:pt>
                <c:pt idx="192">
                  <c:v>53426</c:v>
                </c:pt>
                <c:pt idx="193">
                  <c:v>53474</c:v>
                </c:pt>
                <c:pt idx="194">
                  <c:v>53489</c:v>
                </c:pt>
                <c:pt idx="195">
                  <c:v>53503</c:v>
                </c:pt>
                <c:pt idx="196">
                  <c:v>53551</c:v>
                </c:pt>
                <c:pt idx="197">
                  <c:v>53594</c:v>
                </c:pt>
                <c:pt idx="198">
                  <c:v>53640</c:v>
                </c:pt>
                <c:pt idx="199">
                  <c:v>53700</c:v>
                </c:pt>
                <c:pt idx="200">
                  <c:v>53755</c:v>
                </c:pt>
                <c:pt idx="201">
                  <c:v>53777</c:v>
                </c:pt>
                <c:pt idx="202">
                  <c:v>53796</c:v>
                </c:pt>
                <c:pt idx="203">
                  <c:v>53845</c:v>
                </c:pt>
                <c:pt idx="204">
                  <c:v>53891</c:v>
                </c:pt>
                <c:pt idx="205">
                  <c:v>53960</c:v>
                </c:pt>
                <c:pt idx="206">
                  <c:v>53998</c:v>
                </c:pt>
                <c:pt idx="207">
                  <c:v>54031</c:v>
                </c:pt>
                <c:pt idx="208">
                  <c:v>54037</c:v>
                </c:pt>
                <c:pt idx="209">
                  <c:v>54046</c:v>
                </c:pt>
                <c:pt idx="210">
                  <c:v>54087</c:v>
                </c:pt>
                <c:pt idx="211">
                  <c:v>54138</c:v>
                </c:pt>
                <c:pt idx="212">
                  <c:v>54172</c:v>
                </c:pt>
                <c:pt idx="213">
                  <c:v>54200</c:v>
                </c:pt>
                <c:pt idx="214">
                  <c:v>54244</c:v>
                </c:pt>
                <c:pt idx="215">
                  <c:v>54261</c:v>
                </c:pt>
                <c:pt idx="216">
                  <c:v>54274</c:v>
                </c:pt>
                <c:pt idx="217">
                  <c:v>54311</c:v>
                </c:pt>
                <c:pt idx="218">
                  <c:v>54337</c:v>
                </c:pt>
                <c:pt idx="219">
                  <c:v>54377</c:v>
                </c:pt>
                <c:pt idx="220">
                  <c:v>54407</c:v>
                </c:pt>
                <c:pt idx="221">
                  <c:v>54440</c:v>
                </c:pt>
                <c:pt idx="222">
                  <c:v>54453</c:v>
                </c:pt>
                <c:pt idx="223">
                  <c:v>54458</c:v>
                </c:pt>
                <c:pt idx="224">
                  <c:v>54480</c:v>
                </c:pt>
                <c:pt idx="225">
                  <c:v>54495</c:v>
                </c:pt>
                <c:pt idx="226">
                  <c:v>54514</c:v>
                </c:pt>
                <c:pt idx="227">
                  <c:v>54537</c:v>
                </c:pt>
                <c:pt idx="228">
                  <c:v>54562</c:v>
                </c:pt>
                <c:pt idx="229">
                  <c:v>54572</c:v>
                </c:pt>
                <c:pt idx="230">
                  <c:v>54577</c:v>
                </c:pt>
                <c:pt idx="231">
                  <c:v>54594</c:v>
                </c:pt>
                <c:pt idx="232">
                  <c:v>54618</c:v>
                </c:pt>
                <c:pt idx="233">
                  <c:v>54641</c:v>
                </c:pt>
                <c:pt idx="234">
                  <c:v>54663</c:v>
                </c:pt>
                <c:pt idx="235">
                  <c:v>54696</c:v>
                </c:pt>
                <c:pt idx="236">
                  <c:v>54706</c:v>
                </c:pt>
                <c:pt idx="237">
                  <c:v>54709</c:v>
                </c:pt>
                <c:pt idx="238">
                  <c:v>54721</c:v>
                </c:pt>
                <c:pt idx="239">
                  <c:v>54749</c:v>
                </c:pt>
                <c:pt idx="240">
                  <c:v>54773</c:v>
                </c:pt>
                <c:pt idx="241">
                  <c:v>54800</c:v>
                </c:pt>
                <c:pt idx="242">
                  <c:v>54828</c:v>
                </c:pt>
                <c:pt idx="243">
                  <c:v>54830</c:v>
                </c:pt>
                <c:pt idx="244">
                  <c:v>54837</c:v>
                </c:pt>
                <c:pt idx="245">
                  <c:v>54859</c:v>
                </c:pt>
                <c:pt idx="246">
                  <c:v>54884</c:v>
                </c:pt>
                <c:pt idx="247">
                  <c:v>54904</c:v>
                </c:pt>
                <c:pt idx="248">
                  <c:v>54932</c:v>
                </c:pt>
                <c:pt idx="249">
                  <c:v>54958</c:v>
                </c:pt>
                <c:pt idx="250">
                  <c:v>54966</c:v>
                </c:pt>
                <c:pt idx="251">
                  <c:v>54971</c:v>
                </c:pt>
                <c:pt idx="252">
                  <c:v>54984</c:v>
                </c:pt>
                <c:pt idx="253">
                  <c:v>54997</c:v>
                </c:pt>
                <c:pt idx="254">
                  <c:v>55017</c:v>
                </c:pt>
                <c:pt idx="255">
                  <c:v>55045</c:v>
                </c:pt>
                <c:pt idx="256">
                  <c:v>55070</c:v>
                </c:pt>
                <c:pt idx="257">
                  <c:v>55072</c:v>
                </c:pt>
                <c:pt idx="258">
                  <c:v>55075</c:v>
                </c:pt>
                <c:pt idx="259">
                  <c:v>55094</c:v>
                </c:pt>
                <c:pt idx="260">
                  <c:v>55112</c:v>
                </c:pt>
                <c:pt idx="261">
                  <c:v>55127</c:v>
                </c:pt>
                <c:pt idx="262">
                  <c:v>55145</c:v>
                </c:pt>
                <c:pt idx="263">
                  <c:v>55170</c:v>
                </c:pt>
                <c:pt idx="264">
                  <c:v>55175</c:v>
                </c:pt>
                <c:pt idx="265">
                  <c:v>55175</c:v>
                </c:pt>
                <c:pt idx="266">
                  <c:v>55195</c:v>
                </c:pt>
                <c:pt idx="267">
                  <c:v>55203</c:v>
                </c:pt>
                <c:pt idx="268">
                  <c:v>55214</c:v>
                </c:pt>
                <c:pt idx="269">
                  <c:v>55237</c:v>
                </c:pt>
                <c:pt idx="270">
                  <c:v>55262</c:v>
                </c:pt>
                <c:pt idx="271">
                  <c:v>55268</c:v>
                </c:pt>
                <c:pt idx="272">
                  <c:v>55268</c:v>
                </c:pt>
                <c:pt idx="273">
                  <c:v>55280</c:v>
                </c:pt>
                <c:pt idx="274">
                  <c:v>55280</c:v>
                </c:pt>
                <c:pt idx="275">
                  <c:v>55297</c:v>
                </c:pt>
                <c:pt idx="276">
                  <c:v>55312</c:v>
                </c:pt>
                <c:pt idx="277">
                  <c:v>55332</c:v>
                </c:pt>
                <c:pt idx="278">
                  <c:v>55338</c:v>
                </c:pt>
                <c:pt idx="279">
                  <c:v>55338</c:v>
                </c:pt>
                <c:pt idx="280">
                  <c:v>55347</c:v>
                </c:pt>
                <c:pt idx="281">
                  <c:v>55354</c:v>
                </c:pt>
                <c:pt idx="282">
                  <c:v>55366</c:v>
                </c:pt>
                <c:pt idx="283">
                  <c:v>55384</c:v>
                </c:pt>
                <c:pt idx="284">
                  <c:v>55398</c:v>
                </c:pt>
                <c:pt idx="285">
                  <c:v>55404</c:v>
                </c:pt>
                <c:pt idx="286">
                  <c:v>55404</c:v>
                </c:pt>
                <c:pt idx="287">
                  <c:v>55423</c:v>
                </c:pt>
                <c:pt idx="288">
                  <c:v>55441</c:v>
                </c:pt>
                <c:pt idx="289">
                  <c:v>55448</c:v>
                </c:pt>
                <c:pt idx="290">
                  <c:v>55458</c:v>
                </c:pt>
                <c:pt idx="291">
                  <c:v>55475</c:v>
                </c:pt>
                <c:pt idx="292">
                  <c:v>55477</c:v>
                </c:pt>
                <c:pt idx="293">
                  <c:v>55479</c:v>
                </c:pt>
                <c:pt idx="294">
                  <c:v>55500</c:v>
                </c:pt>
                <c:pt idx="295">
                  <c:v>55507</c:v>
                </c:pt>
                <c:pt idx="296">
                  <c:v>55521</c:v>
                </c:pt>
                <c:pt idx="297">
                  <c:v>55546</c:v>
                </c:pt>
                <c:pt idx="298">
                  <c:v>55585</c:v>
                </c:pt>
                <c:pt idx="299">
                  <c:v>55592</c:v>
                </c:pt>
                <c:pt idx="300">
                  <c:v>55598</c:v>
                </c:pt>
                <c:pt idx="301">
                  <c:v>55619</c:v>
                </c:pt>
                <c:pt idx="302">
                  <c:v>55656</c:v>
                </c:pt>
                <c:pt idx="303">
                  <c:v>55703</c:v>
                </c:pt>
                <c:pt idx="304">
                  <c:v>55710</c:v>
                </c:pt>
                <c:pt idx="305">
                  <c:v>55744</c:v>
                </c:pt>
                <c:pt idx="306">
                  <c:v>55756</c:v>
                </c:pt>
                <c:pt idx="307">
                  <c:v>55759</c:v>
                </c:pt>
                <c:pt idx="308">
                  <c:v>55803</c:v>
                </c:pt>
                <c:pt idx="309">
                  <c:v>55843</c:v>
                </c:pt>
                <c:pt idx="310">
                  <c:v>55878</c:v>
                </c:pt>
                <c:pt idx="311">
                  <c:v>55936</c:v>
                </c:pt>
                <c:pt idx="312">
                  <c:v>55999</c:v>
                </c:pt>
                <c:pt idx="313">
                  <c:v>56023</c:v>
                </c:pt>
                <c:pt idx="314">
                  <c:v>56036</c:v>
                </c:pt>
                <c:pt idx="315">
                  <c:v>56066</c:v>
                </c:pt>
                <c:pt idx="316">
                  <c:v>56101</c:v>
                </c:pt>
                <c:pt idx="317">
                  <c:v>56134</c:v>
                </c:pt>
                <c:pt idx="318">
                  <c:v>56168</c:v>
                </c:pt>
                <c:pt idx="319">
                  <c:v>56232</c:v>
                </c:pt>
                <c:pt idx="320">
                  <c:v>56243</c:v>
                </c:pt>
                <c:pt idx="321">
                  <c:v>56252</c:v>
                </c:pt>
                <c:pt idx="322">
                  <c:v>56299</c:v>
                </c:pt>
                <c:pt idx="323">
                  <c:v>56354</c:v>
                </c:pt>
                <c:pt idx="324">
                  <c:v>56369</c:v>
                </c:pt>
                <c:pt idx="325">
                  <c:v>56414</c:v>
                </c:pt>
                <c:pt idx="326">
                  <c:v>56481</c:v>
                </c:pt>
                <c:pt idx="327">
                  <c:v>56507</c:v>
                </c:pt>
                <c:pt idx="328">
                  <c:v>56518</c:v>
                </c:pt>
                <c:pt idx="329">
                  <c:v>56566</c:v>
                </c:pt>
                <c:pt idx="330">
                  <c:v>56615</c:v>
                </c:pt>
                <c:pt idx="331">
                  <c:v>56650</c:v>
                </c:pt>
                <c:pt idx="332">
                  <c:v>56701</c:v>
                </c:pt>
                <c:pt idx="333">
                  <c:v>56762</c:v>
                </c:pt>
                <c:pt idx="334">
                  <c:v>56772</c:v>
                </c:pt>
                <c:pt idx="335">
                  <c:v>56777</c:v>
                </c:pt>
                <c:pt idx="336">
                  <c:v>56807</c:v>
                </c:pt>
                <c:pt idx="337">
                  <c:v>56835</c:v>
                </c:pt>
                <c:pt idx="338">
                  <c:v>56868</c:v>
                </c:pt>
                <c:pt idx="339">
                  <c:v>56894</c:v>
                </c:pt>
                <c:pt idx="340">
                  <c:v>56925</c:v>
                </c:pt>
                <c:pt idx="341">
                  <c:v>56929</c:v>
                </c:pt>
                <c:pt idx="342">
                  <c:v>56931</c:v>
                </c:pt>
                <c:pt idx="343">
                  <c:v>56950</c:v>
                </c:pt>
                <c:pt idx="344">
                  <c:v>56968</c:v>
                </c:pt>
                <c:pt idx="345">
                  <c:v>56992</c:v>
                </c:pt>
                <c:pt idx="346">
                  <c:v>57011</c:v>
                </c:pt>
                <c:pt idx="347">
                  <c:v>57030</c:v>
                </c:pt>
                <c:pt idx="348">
                  <c:v>57034</c:v>
                </c:pt>
                <c:pt idx="349">
                  <c:v>57036</c:v>
                </c:pt>
                <c:pt idx="350">
                  <c:v>57049</c:v>
                </c:pt>
                <c:pt idx="351">
                  <c:v>57060</c:v>
                </c:pt>
                <c:pt idx="352">
                  <c:v>57072</c:v>
                </c:pt>
                <c:pt idx="353">
                  <c:v>57089</c:v>
                </c:pt>
                <c:pt idx="354">
                  <c:v>57106</c:v>
                </c:pt>
                <c:pt idx="355">
                  <c:v>57110</c:v>
                </c:pt>
                <c:pt idx="356">
                  <c:v>57112</c:v>
                </c:pt>
                <c:pt idx="357">
                  <c:v>57121</c:v>
                </c:pt>
                <c:pt idx="358">
                  <c:v>57128</c:v>
                </c:pt>
                <c:pt idx="359">
                  <c:v>57141</c:v>
                </c:pt>
                <c:pt idx="360">
                  <c:v>57143</c:v>
                </c:pt>
                <c:pt idx="361">
                  <c:v>57144</c:v>
                </c:pt>
                <c:pt idx="362">
                  <c:v>57151</c:v>
                </c:pt>
                <c:pt idx="363">
                  <c:v>57156</c:v>
                </c:pt>
                <c:pt idx="364">
                  <c:v>57159</c:v>
                </c:pt>
                <c:pt idx="365">
                  <c:v>57165</c:v>
                </c:pt>
                <c:pt idx="366">
                  <c:v>57167</c:v>
                </c:pt>
                <c:pt idx="367">
                  <c:v>57168</c:v>
                </c:pt>
                <c:pt idx="368">
                  <c:v>57173</c:v>
                </c:pt>
                <c:pt idx="369">
                  <c:v>57179</c:v>
                </c:pt>
                <c:pt idx="370">
                  <c:v>57189</c:v>
                </c:pt>
                <c:pt idx="371">
                  <c:v>57198</c:v>
                </c:pt>
                <c:pt idx="372">
                  <c:v>57213</c:v>
                </c:pt>
                <c:pt idx="373">
                  <c:v>57216</c:v>
                </c:pt>
                <c:pt idx="374">
                  <c:v>57217</c:v>
                </c:pt>
                <c:pt idx="375">
                  <c:v>57225</c:v>
                </c:pt>
                <c:pt idx="376">
                  <c:v>57231</c:v>
                </c:pt>
                <c:pt idx="377">
                  <c:v>57243</c:v>
                </c:pt>
                <c:pt idx="378">
                  <c:v>57254</c:v>
                </c:pt>
                <c:pt idx="379">
                  <c:v>57266</c:v>
                </c:pt>
                <c:pt idx="380">
                  <c:v>57269</c:v>
                </c:pt>
                <c:pt idx="381">
                  <c:v>57269</c:v>
                </c:pt>
                <c:pt idx="382">
                  <c:v>57278</c:v>
                </c:pt>
                <c:pt idx="383">
                  <c:v>57286</c:v>
                </c:pt>
                <c:pt idx="384">
                  <c:v>57289</c:v>
                </c:pt>
                <c:pt idx="385">
                  <c:v>57297</c:v>
                </c:pt>
                <c:pt idx="386">
                  <c:v>57306</c:v>
                </c:pt>
                <c:pt idx="387">
                  <c:v>57307</c:v>
                </c:pt>
                <c:pt idx="388">
                  <c:v>57307</c:v>
                </c:pt>
                <c:pt idx="389">
                  <c:v>57311</c:v>
                </c:pt>
                <c:pt idx="390">
                  <c:v>57315</c:v>
                </c:pt>
                <c:pt idx="391">
                  <c:v>57321</c:v>
                </c:pt>
                <c:pt idx="392">
                  <c:v>57323</c:v>
                </c:pt>
                <c:pt idx="393">
                  <c:v>57331</c:v>
                </c:pt>
                <c:pt idx="394">
                  <c:v>57332</c:v>
                </c:pt>
                <c:pt idx="395">
                  <c:v>57332</c:v>
                </c:pt>
                <c:pt idx="396">
                  <c:v>57337</c:v>
                </c:pt>
                <c:pt idx="397">
                  <c:v>57339</c:v>
                </c:pt>
                <c:pt idx="398">
                  <c:v>57342</c:v>
                </c:pt>
                <c:pt idx="399">
                  <c:v>57345</c:v>
                </c:pt>
                <c:pt idx="400">
                  <c:v>57349</c:v>
                </c:pt>
                <c:pt idx="401">
                  <c:v>57349</c:v>
                </c:pt>
                <c:pt idx="402">
                  <c:v>57349</c:v>
                </c:pt>
                <c:pt idx="403">
                  <c:v>57350</c:v>
                </c:pt>
                <c:pt idx="404">
                  <c:v>57352</c:v>
                </c:pt>
                <c:pt idx="405">
                  <c:v>57354</c:v>
                </c:pt>
                <c:pt idx="406">
                  <c:v>57356</c:v>
                </c:pt>
                <c:pt idx="407">
                  <c:v>57360</c:v>
                </c:pt>
                <c:pt idx="408">
                  <c:v>57360</c:v>
                </c:pt>
                <c:pt idx="409">
                  <c:v>57360</c:v>
                </c:pt>
                <c:pt idx="410">
                  <c:v>57360</c:v>
                </c:pt>
                <c:pt idx="411">
                  <c:v>57361</c:v>
                </c:pt>
                <c:pt idx="412">
                  <c:v>57362</c:v>
                </c:pt>
                <c:pt idx="413">
                  <c:v>57363</c:v>
                </c:pt>
                <c:pt idx="414">
                  <c:v>57363</c:v>
                </c:pt>
                <c:pt idx="415">
                  <c:v>57363</c:v>
                </c:pt>
                <c:pt idx="416">
                  <c:v>57363</c:v>
                </c:pt>
                <c:pt idx="417">
                  <c:v>57364</c:v>
                </c:pt>
                <c:pt idx="418">
                  <c:v>57364</c:v>
                </c:pt>
                <c:pt idx="419">
                  <c:v>57366</c:v>
                </c:pt>
                <c:pt idx="420">
                  <c:v>57367</c:v>
                </c:pt>
                <c:pt idx="421">
                  <c:v>57367</c:v>
                </c:pt>
                <c:pt idx="422">
                  <c:v>57367</c:v>
                </c:pt>
                <c:pt idx="423">
                  <c:v>57369</c:v>
                </c:pt>
                <c:pt idx="424">
                  <c:v>57371</c:v>
                </c:pt>
                <c:pt idx="425">
                  <c:v>57372</c:v>
                </c:pt>
                <c:pt idx="426">
                  <c:v>57372</c:v>
                </c:pt>
                <c:pt idx="427">
                  <c:v>57375</c:v>
                </c:pt>
                <c:pt idx="428">
                  <c:v>57376</c:v>
                </c:pt>
                <c:pt idx="429">
                  <c:v>57376</c:v>
                </c:pt>
                <c:pt idx="430">
                  <c:v>57378</c:v>
                </c:pt>
                <c:pt idx="431">
                  <c:v>57378</c:v>
                </c:pt>
                <c:pt idx="432">
                  <c:v>57381</c:v>
                </c:pt>
                <c:pt idx="433">
                  <c:v>57381</c:v>
                </c:pt>
                <c:pt idx="434">
                  <c:v>57382</c:v>
                </c:pt>
                <c:pt idx="435">
                  <c:v>57384</c:v>
                </c:pt>
                <c:pt idx="436">
                  <c:v>57386</c:v>
                </c:pt>
                <c:pt idx="437">
                  <c:v>57386</c:v>
                </c:pt>
                <c:pt idx="438">
                  <c:v>57387</c:v>
                </c:pt>
                <c:pt idx="439">
                  <c:v>57387</c:v>
                </c:pt>
                <c:pt idx="440">
                  <c:v>57387</c:v>
                </c:pt>
                <c:pt idx="441">
                  <c:v>57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2</c:f>
              <c:numCache>
                <c:formatCode>m/d/yyyy</c:formatCode>
                <c:ptCount val="27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</c:numCache>
            </c:numRef>
          </c:cat>
          <c:val>
            <c:numRef>
              <c:f>Sheet1!$B$135:$B$412</c:f>
              <c:numCache>
                <c:formatCode>General</c:formatCode>
                <c:ptCount val="278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5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8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7</c:v>
                </c:pt>
                <c:pt idx="142">
                  <c:v>47</c:v>
                </c:pt>
                <c:pt idx="143">
                  <c:v>49</c:v>
                </c:pt>
                <c:pt idx="144">
                  <c:v>44</c:v>
                </c:pt>
                <c:pt idx="145">
                  <c:v>49</c:v>
                </c:pt>
                <c:pt idx="146">
                  <c:v>23</c:v>
                </c:pt>
                <c:pt idx="147">
                  <c:v>65</c:v>
                </c:pt>
                <c:pt idx="148">
                  <c:v>61</c:v>
                </c:pt>
                <c:pt idx="149">
                  <c:v>43</c:v>
                </c:pt>
                <c:pt idx="150">
                  <c:v>57</c:v>
                </c:pt>
                <c:pt idx="151">
                  <c:v>83</c:v>
                </c:pt>
                <c:pt idx="152">
                  <c:v>51</c:v>
                </c:pt>
                <c:pt idx="153">
                  <c:v>32</c:v>
                </c:pt>
                <c:pt idx="154">
                  <c:v>64</c:v>
                </c:pt>
                <c:pt idx="155">
                  <c:v>71</c:v>
                </c:pt>
                <c:pt idx="156">
                  <c:v>44</c:v>
                </c:pt>
                <c:pt idx="157">
                  <c:v>70</c:v>
                </c:pt>
                <c:pt idx="158">
                  <c:v>54</c:v>
                </c:pt>
                <c:pt idx="159">
                  <c:v>35</c:v>
                </c:pt>
                <c:pt idx="160">
                  <c:v>40</c:v>
                </c:pt>
                <c:pt idx="161">
                  <c:v>64</c:v>
                </c:pt>
                <c:pt idx="162">
                  <c:v>51</c:v>
                </c:pt>
                <c:pt idx="163">
                  <c:v>58</c:v>
                </c:pt>
                <c:pt idx="164">
                  <c:v>45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29</c:v>
                </c:pt>
                <c:pt idx="176">
                  <c:v>25</c:v>
                </c:pt>
                <c:pt idx="177">
                  <c:v>26</c:v>
                </c:pt>
                <c:pt idx="178">
                  <c:v>16</c:v>
                </c:pt>
                <c:pt idx="179">
                  <c:v>25</c:v>
                </c:pt>
                <c:pt idx="180">
                  <c:v>20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5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7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2</c:v>
                </c:pt>
                <c:pt idx="194">
                  <c:v>6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6</c:v>
                </c:pt>
                <c:pt idx="207">
                  <c:v>58</c:v>
                </c:pt>
                <c:pt idx="208">
                  <c:v>41</c:v>
                </c:pt>
                <c:pt idx="209">
                  <c:v>53</c:v>
                </c:pt>
                <c:pt idx="210">
                  <c:v>133</c:v>
                </c:pt>
                <c:pt idx="211">
                  <c:v>112</c:v>
                </c:pt>
                <c:pt idx="212">
                  <c:v>149</c:v>
                </c:pt>
                <c:pt idx="213">
                  <c:v>128</c:v>
                </c:pt>
                <c:pt idx="214">
                  <c:v>107</c:v>
                </c:pt>
                <c:pt idx="215">
                  <c:v>68</c:v>
                </c:pt>
                <c:pt idx="216">
                  <c:v>94</c:v>
                </c:pt>
                <c:pt idx="217">
                  <c:v>203</c:v>
                </c:pt>
                <c:pt idx="218">
                  <c:v>175</c:v>
                </c:pt>
                <c:pt idx="219">
                  <c:v>184</c:v>
                </c:pt>
                <c:pt idx="220">
                  <c:v>211</c:v>
                </c:pt>
                <c:pt idx="221">
                  <c:v>195</c:v>
                </c:pt>
                <c:pt idx="222">
                  <c:v>75</c:v>
                </c:pt>
                <c:pt idx="223">
                  <c:v>120</c:v>
                </c:pt>
                <c:pt idx="224">
                  <c:v>216</c:v>
                </c:pt>
                <c:pt idx="225">
                  <c:v>240</c:v>
                </c:pt>
                <c:pt idx="226">
                  <c:v>180</c:v>
                </c:pt>
                <c:pt idx="227">
                  <c:v>146</c:v>
                </c:pt>
                <c:pt idx="228">
                  <c:v>151</c:v>
                </c:pt>
                <c:pt idx="229">
                  <c:v>90</c:v>
                </c:pt>
                <c:pt idx="230">
                  <c:v>65</c:v>
                </c:pt>
                <c:pt idx="231">
                  <c:v>167</c:v>
                </c:pt>
                <c:pt idx="232">
                  <c:v>140</c:v>
                </c:pt>
                <c:pt idx="233">
                  <c:v>123</c:v>
                </c:pt>
                <c:pt idx="234">
                  <c:v>114</c:v>
                </c:pt>
                <c:pt idx="235">
                  <c:v>108</c:v>
                </c:pt>
                <c:pt idx="236">
                  <c:v>55</c:v>
                </c:pt>
                <c:pt idx="237">
                  <c:v>53</c:v>
                </c:pt>
                <c:pt idx="238">
                  <c:v>163</c:v>
                </c:pt>
                <c:pt idx="239">
                  <c:v>102</c:v>
                </c:pt>
                <c:pt idx="240">
                  <c:v>94</c:v>
                </c:pt>
                <c:pt idx="241">
                  <c:v>75</c:v>
                </c:pt>
                <c:pt idx="242">
                  <c:v>74</c:v>
                </c:pt>
                <c:pt idx="243">
                  <c:v>45</c:v>
                </c:pt>
                <c:pt idx="244">
                  <c:v>46</c:v>
                </c:pt>
                <c:pt idx="245">
                  <c:v>85</c:v>
                </c:pt>
                <c:pt idx="246">
                  <c:v>68</c:v>
                </c:pt>
                <c:pt idx="247">
                  <c:v>63</c:v>
                </c:pt>
                <c:pt idx="248">
                  <c:v>57</c:v>
                </c:pt>
                <c:pt idx="249">
                  <c:v>48</c:v>
                </c:pt>
                <c:pt idx="250">
                  <c:v>33</c:v>
                </c:pt>
                <c:pt idx="251">
                  <c:v>36</c:v>
                </c:pt>
                <c:pt idx="252">
                  <c:v>86</c:v>
                </c:pt>
                <c:pt idx="253">
                  <c:v>54</c:v>
                </c:pt>
                <c:pt idx="254">
                  <c:v>64</c:v>
                </c:pt>
                <c:pt idx="255">
                  <c:v>48</c:v>
                </c:pt>
                <c:pt idx="256">
                  <c:v>53</c:v>
                </c:pt>
                <c:pt idx="257">
                  <c:v>40</c:v>
                </c:pt>
                <c:pt idx="258">
                  <c:v>31</c:v>
                </c:pt>
                <c:pt idx="259">
                  <c:v>89</c:v>
                </c:pt>
                <c:pt idx="260">
                  <c:v>72</c:v>
                </c:pt>
                <c:pt idx="261">
                  <c:v>62</c:v>
                </c:pt>
                <c:pt idx="262">
                  <c:v>54</c:v>
                </c:pt>
                <c:pt idx="263">
                  <c:v>46</c:v>
                </c:pt>
                <c:pt idx="264">
                  <c:v>26</c:v>
                </c:pt>
                <c:pt idx="265">
                  <c:v>30</c:v>
                </c:pt>
                <c:pt idx="266">
                  <c:v>89</c:v>
                </c:pt>
                <c:pt idx="267">
                  <c:v>59</c:v>
                </c:pt>
                <c:pt idx="268">
                  <c:v>61</c:v>
                </c:pt>
                <c:pt idx="269">
                  <c:v>57</c:v>
                </c:pt>
                <c:pt idx="270">
                  <c:v>43</c:v>
                </c:pt>
                <c:pt idx="271">
                  <c:v>20</c:v>
                </c:pt>
                <c:pt idx="272">
                  <c:v>20</c:v>
                </c:pt>
                <c:pt idx="273">
                  <c:v>104</c:v>
                </c:pt>
                <c:pt idx="274">
                  <c:v>75</c:v>
                </c:pt>
                <c:pt idx="275">
                  <c:v>58</c:v>
                </c:pt>
                <c:pt idx="276">
                  <c:v>63</c:v>
                </c:pt>
                <c:pt idx="27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56471970000000005</c:v>
                </c:pt>
                <c:pt idx="11">
                  <c:v>4.5177576000000004</c:v>
                </c:pt>
                <c:pt idx="12">
                  <c:v>12.7061932</c:v>
                </c:pt>
                <c:pt idx="13">
                  <c:v>11.577048</c:v>
                </c:pt>
                <c:pt idx="14">
                  <c:v>7.9086885000000002</c:v>
                </c:pt>
                <c:pt idx="15">
                  <c:v>4.2383537000000002</c:v>
                </c:pt>
                <c:pt idx="16">
                  <c:v>5.0879076999999997</c:v>
                </c:pt>
                <c:pt idx="17">
                  <c:v>3.9587273999999999</c:v>
                </c:pt>
                <c:pt idx="18">
                  <c:v>1.6971109</c:v>
                </c:pt>
                <c:pt idx="19">
                  <c:v>1.9802371999999999</c:v>
                </c:pt>
                <c:pt idx="20">
                  <c:v>0.56587010000000004</c:v>
                </c:pt>
                <c:pt idx="21">
                  <c:v>0.56595010000000001</c:v>
                </c:pt>
                <c:pt idx="22">
                  <c:v>1.4150676</c:v>
                </c:pt>
                <c:pt idx="23">
                  <c:v>1.132179</c:v>
                </c:pt>
                <c:pt idx="24">
                  <c:v>1.1322943999999999</c:v>
                </c:pt>
                <c:pt idx="25">
                  <c:v>1.1324129999999999</c:v>
                </c:pt>
                <c:pt idx="26">
                  <c:v>1.6987878999999999</c:v>
                </c:pt>
                <c:pt idx="27">
                  <c:v>0.2831361</c:v>
                </c:pt>
                <c:pt idx="28">
                  <c:v>1.6987878999999999</c:v>
                </c:pt>
                <c:pt idx="29">
                  <c:v>1.4156325000000001</c:v>
                </c:pt>
                <c:pt idx="30">
                  <c:v>4.2468133999999997</c:v>
                </c:pt>
                <c:pt idx="31">
                  <c:v>3.6797068999999998</c:v>
                </c:pt>
                <c:pt idx="32">
                  <c:v>5.3752184999999999</c:v>
                </c:pt>
                <c:pt idx="33">
                  <c:v>4.8069037999999997</c:v>
                </c:pt>
                <c:pt idx="34">
                  <c:v>7.9130915999999996</c:v>
                </c:pt>
                <c:pt idx="35">
                  <c:v>9.0365868000000003</c:v>
                </c:pt>
                <c:pt idx="36">
                  <c:v>21.695396599999999</c:v>
                </c:pt>
                <c:pt idx="37">
                  <c:v>38.786052699999999</c:v>
                </c:pt>
                <c:pt idx="38">
                  <c:v>51.586133400000001</c:v>
                </c:pt>
                <c:pt idx="39">
                  <c:v>62.364713299999998</c:v>
                </c:pt>
                <c:pt idx="40">
                  <c:v>118.0990244</c:v>
                </c:pt>
                <c:pt idx="41">
                  <c:v>211.7213869</c:v>
                </c:pt>
                <c:pt idx="42">
                  <c:v>302.66968029999998</c:v>
                </c:pt>
                <c:pt idx="43">
                  <c:v>283.46833809999998</c:v>
                </c:pt>
                <c:pt idx="44">
                  <c:v>197.2847606</c:v>
                </c:pt>
                <c:pt idx="45">
                  <c:v>118.2184342</c:v>
                </c:pt>
                <c:pt idx="46">
                  <c:v>94.264334899999994</c:v>
                </c:pt>
                <c:pt idx="47">
                  <c:v>86.727134699999993</c:v>
                </c:pt>
                <c:pt idx="48">
                  <c:v>91.699016</c:v>
                </c:pt>
                <c:pt idx="49">
                  <c:v>124.1777046</c:v>
                </c:pt>
                <c:pt idx="50">
                  <c:v>140.8141669</c:v>
                </c:pt>
                <c:pt idx="51">
                  <c:v>201.0390721</c:v>
                </c:pt>
                <c:pt idx="52">
                  <c:v>191.5543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93.276331099999993</c:v>
                </c:pt>
                <c:pt idx="1">
                  <c:v>190.22071149999999</c:v>
                </c:pt>
                <c:pt idx="2">
                  <c:v>123.6413345</c:v>
                </c:pt>
                <c:pt idx="3">
                  <c:v>102.57892870000001</c:v>
                </c:pt>
                <c:pt idx="4">
                  <c:v>67.866947400000001</c:v>
                </c:pt>
                <c:pt idx="5">
                  <c:v>56.490571899999999</c:v>
                </c:pt>
                <c:pt idx="6">
                  <c:v>45.0995949</c:v>
                </c:pt>
                <c:pt idx="7">
                  <c:v>38.990480699999999</c:v>
                </c:pt>
                <c:pt idx="8">
                  <c:v>52.936882500000003</c:v>
                </c:pt>
                <c:pt idx="9">
                  <c:v>52.679549399999999</c:v>
                </c:pt>
                <c:pt idx="10">
                  <c:v>29.5499212</c:v>
                </c:pt>
                <c:pt idx="11">
                  <c:v>29.552392699999999</c:v>
                </c:pt>
                <c:pt idx="12">
                  <c:v>18.9597245</c:v>
                </c:pt>
                <c:pt idx="13">
                  <c:v>14.499542699999999</c:v>
                </c:pt>
                <c:pt idx="14">
                  <c:v>10.0363259</c:v>
                </c:pt>
                <c:pt idx="15">
                  <c:v>7.5253981999999997</c:v>
                </c:pt>
                <c:pt idx="16">
                  <c:v>10.0314038</c:v>
                </c:pt>
                <c:pt idx="17">
                  <c:v>7.2431064999999997</c:v>
                </c:pt>
                <c:pt idx="18">
                  <c:v>3.9000256000000002</c:v>
                </c:pt>
                <c:pt idx="19">
                  <c:v>3.6221888999999998</c:v>
                </c:pt>
                <c:pt idx="20">
                  <c:v>2.7868738</c:v>
                </c:pt>
                <c:pt idx="21">
                  <c:v>3.344929</c:v>
                </c:pt>
                <c:pt idx="22">
                  <c:v>1.3940079000000001</c:v>
                </c:pt>
                <c:pt idx="23">
                  <c:v>0.27886759999999999</c:v>
                </c:pt>
                <c:pt idx="24">
                  <c:v>0.55786760000000002</c:v>
                </c:pt>
                <c:pt idx="25">
                  <c:v>0</c:v>
                </c:pt>
                <c:pt idx="26">
                  <c:v>0.27905990000000003</c:v>
                </c:pt>
                <c:pt idx="27">
                  <c:v>0.83697180000000004</c:v>
                </c:pt>
                <c:pt idx="28">
                  <c:v>1.6732853999999999</c:v>
                </c:pt>
                <c:pt idx="29">
                  <c:v>3.6240065000000001</c:v>
                </c:pt>
                <c:pt idx="30">
                  <c:v>2.7865864</c:v>
                </c:pt>
                <c:pt idx="31">
                  <c:v>2.5067962000000001</c:v>
                </c:pt>
                <c:pt idx="32">
                  <c:v>2.5054563000000001</c:v>
                </c:pt>
                <c:pt idx="33">
                  <c:v>1.3911766000000001</c:v>
                </c:pt>
                <c:pt idx="34">
                  <c:v>1.3904453999999999</c:v>
                </c:pt>
                <c:pt idx="35">
                  <c:v>3.0566933000000001</c:v>
                </c:pt>
                <c:pt idx="36">
                  <c:v>2.4958955999999999</c:v>
                </c:pt>
                <c:pt idx="37">
                  <c:v>3.3204573000000002</c:v>
                </c:pt>
                <c:pt idx="38">
                  <c:v>3.589197</c:v>
                </c:pt>
                <c:pt idx="39">
                  <c:v>7.1624752000000003</c:v>
                </c:pt>
                <c:pt idx="40">
                  <c:v>6.8796419999999996</c:v>
                </c:pt>
                <c:pt idx="41">
                  <c:v>9.6297762999999996</c:v>
                </c:pt>
                <c:pt idx="42">
                  <c:v>24.207613200000001</c:v>
                </c:pt>
                <c:pt idx="43">
                  <c:v>42.9058244</c:v>
                </c:pt>
                <c:pt idx="44">
                  <c:v>64.9050625</c:v>
                </c:pt>
                <c:pt idx="45">
                  <c:v>75.370802299999994</c:v>
                </c:pt>
                <c:pt idx="46">
                  <c:v>99.597483100000005</c:v>
                </c:pt>
                <c:pt idx="47">
                  <c:v>100.7185137</c:v>
                </c:pt>
                <c:pt idx="48">
                  <c:v>88.356000300000005</c:v>
                </c:pt>
                <c:pt idx="49">
                  <c:v>59.751631400000001</c:v>
                </c:pt>
                <c:pt idx="50">
                  <c:v>39.941052499999998</c:v>
                </c:pt>
                <c:pt idx="51">
                  <c:v>37.475888599999998</c:v>
                </c:pt>
                <c:pt idx="52">
                  <c:v>38.041051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1.581670000000001</c:v>
                </c:pt>
                <c:pt idx="1">
                  <c:v>44.982145099999997</c:v>
                </c:pt>
                <c:pt idx="2">
                  <c:v>75.9903616</c:v>
                </c:pt>
                <c:pt idx="3">
                  <c:v>166.8474411</c:v>
                </c:pt>
                <c:pt idx="4">
                  <c:v>247.97052049999999</c:v>
                </c:pt>
                <c:pt idx="5">
                  <c:v>252.6765407</c:v>
                </c:pt>
                <c:pt idx="6">
                  <c:v>165.9520737</c:v>
                </c:pt>
                <c:pt idx="7">
                  <c:v>133.5524964</c:v>
                </c:pt>
                <c:pt idx="8">
                  <c:v>85.562685700000003</c:v>
                </c:pt>
                <c:pt idx="9">
                  <c:v>83.939952300000002</c:v>
                </c:pt>
                <c:pt idx="10">
                  <c:v>85.625483000000003</c:v>
                </c:pt>
                <c:pt idx="11">
                  <c:v>83.410256099999998</c:v>
                </c:pt>
                <c:pt idx="12">
                  <c:v>80.9167225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2</c:f>
              <c:numCache>
                <c:formatCode>m/d/yyyy</c:formatCode>
                <c:ptCount val="27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</c:numCache>
            </c:numRef>
          </c:cat>
          <c:val>
            <c:numRef>
              <c:f>Sheet1!$B$135:$B$412</c:f>
              <c:numCache>
                <c:formatCode>General</c:formatCode>
                <c:ptCount val="278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5</c:v>
                </c:pt>
                <c:pt idx="89">
                  <c:v>2</c:v>
                </c:pt>
                <c:pt idx="90">
                  <c:v>2</c:v>
                </c:pt>
                <c:pt idx="91">
                  <c:v>9</c:v>
                </c:pt>
                <c:pt idx="92">
                  <c:v>7</c:v>
                </c:pt>
                <c:pt idx="93">
                  <c:v>5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8</c:v>
                </c:pt>
                <c:pt idx="121">
                  <c:v>27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2</c:v>
                </c:pt>
                <c:pt idx="126">
                  <c:v>65</c:v>
                </c:pt>
                <c:pt idx="127">
                  <c:v>68</c:v>
                </c:pt>
                <c:pt idx="128">
                  <c:v>75</c:v>
                </c:pt>
                <c:pt idx="129">
                  <c:v>33</c:v>
                </c:pt>
                <c:pt idx="130">
                  <c:v>82</c:v>
                </c:pt>
                <c:pt idx="131">
                  <c:v>62</c:v>
                </c:pt>
                <c:pt idx="132">
                  <c:v>37</c:v>
                </c:pt>
                <c:pt idx="133">
                  <c:v>111</c:v>
                </c:pt>
                <c:pt idx="134">
                  <c:v>103</c:v>
                </c:pt>
                <c:pt idx="135">
                  <c:v>116</c:v>
                </c:pt>
                <c:pt idx="136">
                  <c:v>103</c:v>
                </c:pt>
                <c:pt idx="137">
                  <c:v>109</c:v>
                </c:pt>
                <c:pt idx="138">
                  <c:v>84</c:v>
                </c:pt>
                <c:pt idx="139">
                  <c:v>27</c:v>
                </c:pt>
                <c:pt idx="140">
                  <c:v>134</c:v>
                </c:pt>
                <c:pt idx="141">
                  <c:v>146</c:v>
                </c:pt>
                <c:pt idx="142">
                  <c:v>168</c:v>
                </c:pt>
                <c:pt idx="143">
                  <c:v>97</c:v>
                </c:pt>
                <c:pt idx="144">
                  <c:v>161</c:v>
                </c:pt>
                <c:pt idx="145">
                  <c:v>98</c:v>
                </c:pt>
                <c:pt idx="146">
                  <c:v>54</c:v>
                </c:pt>
                <c:pt idx="147">
                  <c:v>157</c:v>
                </c:pt>
                <c:pt idx="148">
                  <c:v>227</c:v>
                </c:pt>
                <c:pt idx="149">
                  <c:v>122</c:v>
                </c:pt>
                <c:pt idx="150">
                  <c:v>168</c:v>
                </c:pt>
                <c:pt idx="151">
                  <c:v>234</c:v>
                </c:pt>
                <c:pt idx="152">
                  <c:v>155</c:v>
                </c:pt>
                <c:pt idx="153">
                  <c:v>84</c:v>
                </c:pt>
                <c:pt idx="154">
                  <c:v>189</c:v>
                </c:pt>
                <c:pt idx="155">
                  <c:v>256</c:v>
                </c:pt>
                <c:pt idx="156">
                  <c:v>138</c:v>
                </c:pt>
                <c:pt idx="157">
                  <c:v>217</c:v>
                </c:pt>
                <c:pt idx="158">
                  <c:v>184</c:v>
                </c:pt>
                <c:pt idx="159">
                  <c:v>107</c:v>
                </c:pt>
                <c:pt idx="160">
                  <c:v>78</c:v>
                </c:pt>
                <c:pt idx="161">
                  <c:v>206</c:v>
                </c:pt>
                <c:pt idx="162">
                  <c:v>166</c:v>
                </c:pt>
                <c:pt idx="163">
                  <c:v>177</c:v>
                </c:pt>
                <c:pt idx="164">
                  <c:v>150</c:v>
                </c:pt>
                <c:pt idx="165">
                  <c:v>145</c:v>
                </c:pt>
                <c:pt idx="166">
                  <c:v>84</c:v>
                </c:pt>
                <c:pt idx="167">
                  <c:v>67</c:v>
                </c:pt>
                <c:pt idx="168">
                  <c:v>169</c:v>
                </c:pt>
                <c:pt idx="169">
                  <c:v>153</c:v>
                </c:pt>
                <c:pt idx="170">
                  <c:v>119</c:v>
                </c:pt>
                <c:pt idx="171">
                  <c:v>125</c:v>
                </c:pt>
                <c:pt idx="172">
                  <c:v>112</c:v>
                </c:pt>
                <c:pt idx="173">
                  <c:v>73</c:v>
                </c:pt>
                <c:pt idx="174">
                  <c:v>58</c:v>
                </c:pt>
                <c:pt idx="175">
                  <c:v>103</c:v>
                </c:pt>
                <c:pt idx="176">
                  <c:v>126</c:v>
                </c:pt>
                <c:pt idx="177">
                  <c:v>87</c:v>
                </c:pt>
                <c:pt idx="178">
                  <c:v>67</c:v>
                </c:pt>
                <c:pt idx="179">
                  <c:v>81</c:v>
                </c:pt>
                <c:pt idx="180">
                  <c:v>47</c:v>
                </c:pt>
                <c:pt idx="181">
                  <c:v>34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59</c:v>
                </c:pt>
                <c:pt idx="186">
                  <c:v>22</c:v>
                </c:pt>
                <c:pt idx="187">
                  <c:v>18</c:v>
                </c:pt>
                <c:pt idx="188">
                  <c:v>19</c:v>
                </c:pt>
                <c:pt idx="189">
                  <c:v>75</c:v>
                </c:pt>
                <c:pt idx="190">
                  <c:v>93</c:v>
                </c:pt>
                <c:pt idx="191">
                  <c:v>56</c:v>
                </c:pt>
                <c:pt idx="192">
                  <c:v>52</c:v>
                </c:pt>
                <c:pt idx="193">
                  <c:v>53</c:v>
                </c:pt>
                <c:pt idx="194">
                  <c:v>12</c:v>
                </c:pt>
                <c:pt idx="195">
                  <c:v>35</c:v>
                </c:pt>
                <c:pt idx="196">
                  <c:v>100</c:v>
                </c:pt>
                <c:pt idx="197">
                  <c:v>81</c:v>
                </c:pt>
                <c:pt idx="198">
                  <c:v>56</c:v>
                </c:pt>
                <c:pt idx="199">
                  <c:v>59</c:v>
                </c:pt>
                <c:pt idx="200">
                  <c:v>67</c:v>
                </c:pt>
                <c:pt idx="201">
                  <c:v>37</c:v>
                </c:pt>
                <c:pt idx="202">
                  <c:v>31</c:v>
                </c:pt>
                <c:pt idx="203">
                  <c:v>72</c:v>
                </c:pt>
                <c:pt idx="204">
                  <c:v>107</c:v>
                </c:pt>
                <c:pt idx="205">
                  <c:v>115</c:v>
                </c:pt>
                <c:pt idx="206">
                  <c:v>98</c:v>
                </c:pt>
                <c:pt idx="207">
                  <c:v>113</c:v>
                </c:pt>
                <c:pt idx="208">
                  <c:v>92</c:v>
                </c:pt>
                <c:pt idx="209">
                  <c:v>66</c:v>
                </c:pt>
                <c:pt idx="210">
                  <c:v>239</c:v>
                </c:pt>
                <c:pt idx="211">
                  <c:v>266</c:v>
                </c:pt>
                <c:pt idx="212">
                  <c:v>287</c:v>
                </c:pt>
                <c:pt idx="213">
                  <c:v>288</c:v>
                </c:pt>
                <c:pt idx="214">
                  <c:v>310</c:v>
                </c:pt>
                <c:pt idx="215">
                  <c:v>172</c:v>
                </c:pt>
                <c:pt idx="216">
                  <c:v>183</c:v>
                </c:pt>
                <c:pt idx="217">
                  <c:v>417</c:v>
                </c:pt>
                <c:pt idx="218">
                  <c:v>381</c:v>
                </c:pt>
                <c:pt idx="219">
                  <c:v>441</c:v>
                </c:pt>
                <c:pt idx="220">
                  <c:v>806</c:v>
                </c:pt>
                <c:pt idx="221">
                  <c:v>605</c:v>
                </c:pt>
                <c:pt idx="222">
                  <c:v>215</c:v>
                </c:pt>
                <c:pt idx="223">
                  <c:v>327</c:v>
                </c:pt>
                <c:pt idx="224">
                  <c:v>634</c:v>
                </c:pt>
                <c:pt idx="225">
                  <c:v>709</c:v>
                </c:pt>
                <c:pt idx="226">
                  <c:v>567</c:v>
                </c:pt>
                <c:pt idx="227">
                  <c:v>546</c:v>
                </c:pt>
                <c:pt idx="228">
                  <c:v>407</c:v>
                </c:pt>
                <c:pt idx="229">
                  <c:v>341</c:v>
                </c:pt>
                <c:pt idx="230">
                  <c:v>175</c:v>
                </c:pt>
                <c:pt idx="231">
                  <c:v>621</c:v>
                </c:pt>
                <c:pt idx="232">
                  <c:v>543</c:v>
                </c:pt>
                <c:pt idx="233">
                  <c:v>426</c:v>
                </c:pt>
                <c:pt idx="234">
                  <c:v>371</c:v>
                </c:pt>
                <c:pt idx="235">
                  <c:v>353</c:v>
                </c:pt>
                <c:pt idx="236">
                  <c:v>197</c:v>
                </c:pt>
                <c:pt idx="237">
                  <c:v>146</c:v>
                </c:pt>
                <c:pt idx="238">
                  <c:v>416</c:v>
                </c:pt>
                <c:pt idx="239">
                  <c:v>414</c:v>
                </c:pt>
                <c:pt idx="240">
                  <c:v>311</c:v>
                </c:pt>
                <c:pt idx="241">
                  <c:v>273</c:v>
                </c:pt>
                <c:pt idx="242">
                  <c:v>241</c:v>
                </c:pt>
                <c:pt idx="243">
                  <c:v>130</c:v>
                </c:pt>
                <c:pt idx="244">
                  <c:v>90</c:v>
                </c:pt>
                <c:pt idx="245">
                  <c:v>302</c:v>
                </c:pt>
                <c:pt idx="246">
                  <c:v>239</c:v>
                </c:pt>
                <c:pt idx="247">
                  <c:v>176</c:v>
                </c:pt>
                <c:pt idx="248">
                  <c:v>167</c:v>
                </c:pt>
                <c:pt idx="249">
                  <c:v>160</c:v>
                </c:pt>
                <c:pt idx="250">
                  <c:v>99</c:v>
                </c:pt>
                <c:pt idx="251">
                  <c:v>74</c:v>
                </c:pt>
                <c:pt idx="252">
                  <c:v>226</c:v>
                </c:pt>
                <c:pt idx="253">
                  <c:v>215</c:v>
                </c:pt>
                <c:pt idx="254">
                  <c:v>158</c:v>
                </c:pt>
                <c:pt idx="255">
                  <c:v>152</c:v>
                </c:pt>
                <c:pt idx="256">
                  <c:v>161</c:v>
                </c:pt>
                <c:pt idx="257">
                  <c:v>98</c:v>
                </c:pt>
                <c:pt idx="258">
                  <c:v>60</c:v>
                </c:pt>
                <c:pt idx="259">
                  <c:v>230</c:v>
                </c:pt>
                <c:pt idx="260">
                  <c:v>170</c:v>
                </c:pt>
                <c:pt idx="261">
                  <c:v>169</c:v>
                </c:pt>
                <c:pt idx="262">
                  <c:v>157</c:v>
                </c:pt>
                <c:pt idx="263">
                  <c:v>148</c:v>
                </c:pt>
                <c:pt idx="264">
                  <c:v>78</c:v>
                </c:pt>
                <c:pt idx="265">
                  <c:v>52</c:v>
                </c:pt>
                <c:pt idx="266">
                  <c:v>220</c:v>
                </c:pt>
                <c:pt idx="267">
                  <c:v>178</c:v>
                </c:pt>
                <c:pt idx="268">
                  <c:v>163</c:v>
                </c:pt>
                <c:pt idx="269">
                  <c:v>151</c:v>
                </c:pt>
                <c:pt idx="270">
                  <c:v>162</c:v>
                </c:pt>
                <c:pt idx="271">
                  <c:v>82</c:v>
                </c:pt>
                <c:pt idx="272">
                  <c:v>52</c:v>
                </c:pt>
                <c:pt idx="273">
                  <c:v>232</c:v>
                </c:pt>
                <c:pt idx="274">
                  <c:v>173</c:v>
                </c:pt>
                <c:pt idx="275">
                  <c:v>144</c:v>
                </c:pt>
                <c:pt idx="276">
                  <c:v>136</c:v>
                </c:pt>
                <c:pt idx="277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14093749999999999</c:v>
                </c:pt>
                <c:pt idx="11">
                  <c:v>1.8321883999999999</c:v>
                </c:pt>
                <c:pt idx="12">
                  <c:v>5.3556277000000003</c:v>
                </c:pt>
                <c:pt idx="13">
                  <c:v>11.416088200000001</c:v>
                </c:pt>
                <c:pt idx="14">
                  <c:v>15.082913700000001</c:v>
                </c:pt>
                <c:pt idx="15">
                  <c:v>7.4724190000000004</c:v>
                </c:pt>
                <c:pt idx="16">
                  <c:v>6.2047160999999997</c:v>
                </c:pt>
                <c:pt idx="17">
                  <c:v>4.6544428</c:v>
                </c:pt>
                <c:pt idx="18">
                  <c:v>4.5139529999999999</c:v>
                </c:pt>
                <c:pt idx="19">
                  <c:v>2.5391558000000001</c:v>
                </c:pt>
                <c:pt idx="20">
                  <c:v>0.42320219999999997</c:v>
                </c:pt>
                <c:pt idx="21">
                  <c:v>0.98749540000000002</c:v>
                </c:pt>
                <c:pt idx="22">
                  <c:v>1.4107415999999999</c:v>
                </c:pt>
                <c:pt idx="23">
                  <c:v>2.3983691</c:v>
                </c:pt>
                <c:pt idx="24">
                  <c:v>1.9752137999999999</c:v>
                </c:pt>
                <c:pt idx="25">
                  <c:v>1.5520238</c:v>
                </c:pt>
                <c:pt idx="26">
                  <c:v>1.4109825</c:v>
                </c:pt>
                <c:pt idx="27">
                  <c:v>1.9752166</c:v>
                </c:pt>
                <c:pt idx="28">
                  <c:v>3.3856844000000001</c:v>
                </c:pt>
                <c:pt idx="29">
                  <c:v>3.1031762999999999</c:v>
                </c:pt>
                <c:pt idx="30">
                  <c:v>5.2183600999999999</c:v>
                </c:pt>
                <c:pt idx="31">
                  <c:v>3.6666609999999999</c:v>
                </c:pt>
                <c:pt idx="32">
                  <c:v>4.0896103999999998</c:v>
                </c:pt>
                <c:pt idx="33">
                  <c:v>4.7945601</c:v>
                </c:pt>
                <c:pt idx="34">
                  <c:v>6.6275779999999997</c:v>
                </c:pt>
                <c:pt idx="35">
                  <c:v>10.855911000000001</c:v>
                </c:pt>
                <c:pt idx="36">
                  <c:v>16.335658299999999</c:v>
                </c:pt>
                <c:pt idx="37">
                  <c:v>36.285746000000003</c:v>
                </c:pt>
                <c:pt idx="38">
                  <c:v>42.559467300000001</c:v>
                </c:pt>
                <c:pt idx="39">
                  <c:v>62.422673000000003</c:v>
                </c:pt>
                <c:pt idx="40">
                  <c:v>116.6990285</c:v>
                </c:pt>
                <c:pt idx="41">
                  <c:v>242.66715550000001</c:v>
                </c:pt>
                <c:pt idx="42">
                  <c:v>382.06836959999998</c:v>
                </c:pt>
                <c:pt idx="43">
                  <c:v>441.57447409999997</c:v>
                </c:pt>
                <c:pt idx="44">
                  <c:v>373.31443510000003</c:v>
                </c:pt>
                <c:pt idx="45">
                  <c:v>235.66400519999999</c:v>
                </c:pt>
                <c:pt idx="46">
                  <c:v>177.0914401</c:v>
                </c:pt>
                <c:pt idx="47">
                  <c:v>160.22297689999999</c:v>
                </c:pt>
                <c:pt idx="48">
                  <c:v>141.0190327</c:v>
                </c:pt>
                <c:pt idx="49">
                  <c:v>165.99790970000001</c:v>
                </c:pt>
                <c:pt idx="50">
                  <c:v>165.7061717</c:v>
                </c:pt>
                <c:pt idx="51">
                  <c:v>195.33982889999999</c:v>
                </c:pt>
                <c:pt idx="52">
                  <c:v>230.8704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79.425040100000004</c:v>
                </c:pt>
                <c:pt idx="1">
                  <c:v>265.0878596</c:v>
                </c:pt>
                <c:pt idx="2">
                  <c:v>174.8188782</c:v>
                </c:pt>
                <c:pt idx="3">
                  <c:v>140.1486324</c:v>
                </c:pt>
                <c:pt idx="4">
                  <c:v>108.6195057</c:v>
                </c:pt>
                <c:pt idx="5">
                  <c:v>94.239849399999997</c:v>
                </c:pt>
                <c:pt idx="6">
                  <c:v>88.137522200000006</c:v>
                </c:pt>
                <c:pt idx="7">
                  <c:v>92.721372200000005</c:v>
                </c:pt>
                <c:pt idx="8">
                  <c:v>105.77295460000001</c:v>
                </c:pt>
                <c:pt idx="9">
                  <c:v>101.59554970000001</c:v>
                </c:pt>
                <c:pt idx="10">
                  <c:v>89.890632999999994</c:v>
                </c:pt>
                <c:pt idx="11">
                  <c:v>75.562000999999995</c:v>
                </c:pt>
                <c:pt idx="12">
                  <c:v>54.597255099999998</c:v>
                </c:pt>
                <c:pt idx="13">
                  <c:v>38.085952300000002</c:v>
                </c:pt>
                <c:pt idx="14">
                  <c:v>34.594845900000003</c:v>
                </c:pt>
                <c:pt idx="15">
                  <c:v>20.599828200000001</c:v>
                </c:pt>
                <c:pt idx="16">
                  <c:v>15.7466828</c:v>
                </c:pt>
                <c:pt idx="17">
                  <c:v>9.9362560999999996</c:v>
                </c:pt>
                <c:pt idx="18">
                  <c:v>10.347096799999999</c:v>
                </c:pt>
                <c:pt idx="19">
                  <c:v>8.1427154999999996</c:v>
                </c:pt>
                <c:pt idx="20">
                  <c:v>3.4515798000000002</c:v>
                </c:pt>
                <c:pt idx="21">
                  <c:v>3.1766200000000002</c:v>
                </c:pt>
                <c:pt idx="22">
                  <c:v>1.6578913</c:v>
                </c:pt>
                <c:pt idx="23">
                  <c:v>0.69087109999999996</c:v>
                </c:pt>
                <c:pt idx="24">
                  <c:v>1.2436985</c:v>
                </c:pt>
                <c:pt idx="25">
                  <c:v>0.55281290000000005</c:v>
                </c:pt>
                <c:pt idx="26">
                  <c:v>0.96746410000000005</c:v>
                </c:pt>
                <c:pt idx="27">
                  <c:v>0.82865140000000004</c:v>
                </c:pt>
                <c:pt idx="28">
                  <c:v>1.379767</c:v>
                </c:pt>
                <c:pt idx="29">
                  <c:v>1.7919862</c:v>
                </c:pt>
                <c:pt idx="30">
                  <c:v>1.1017083000000001</c:v>
                </c:pt>
                <c:pt idx="31">
                  <c:v>0.82594679999999998</c:v>
                </c:pt>
                <c:pt idx="32">
                  <c:v>1.2393381999999999</c:v>
                </c:pt>
                <c:pt idx="33">
                  <c:v>1.7907470000000001</c:v>
                </c:pt>
                <c:pt idx="34">
                  <c:v>1.2401629999999999</c:v>
                </c:pt>
                <c:pt idx="35">
                  <c:v>2.3429790000000001</c:v>
                </c:pt>
                <c:pt idx="36">
                  <c:v>1.928186</c:v>
                </c:pt>
                <c:pt idx="37">
                  <c:v>3.3027324999999998</c:v>
                </c:pt>
                <c:pt idx="38">
                  <c:v>5.0875120000000003</c:v>
                </c:pt>
                <c:pt idx="39">
                  <c:v>7.9684340000000002</c:v>
                </c:pt>
                <c:pt idx="40">
                  <c:v>8.3775788000000002</c:v>
                </c:pt>
                <c:pt idx="41">
                  <c:v>13.5962864</c:v>
                </c:pt>
                <c:pt idx="42">
                  <c:v>25.818962299999999</c:v>
                </c:pt>
                <c:pt idx="43">
                  <c:v>46.693483299999997</c:v>
                </c:pt>
                <c:pt idx="44">
                  <c:v>82.401169999999993</c:v>
                </c:pt>
                <c:pt idx="45">
                  <c:v>104.7935854</c:v>
                </c:pt>
                <c:pt idx="46">
                  <c:v>132.82000070000001</c:v>
                </c:pt>
                <c:pt idx="47">
                  <c:v>155.9050943</c:v>
                </c:pt>
                <c:pt idx="48">
                  <c:v>128.72576599999999</c:v>
                </c:pt>
                <c:pt idx="49">
                  <c:v>104.3340559</c:v>
                </c:pt>
                <c:pt idx="50">
                  <c:v>73.728966200000002</c:v>
                </c:pt>
                <c:pt idx="51">
                  <c:v>48.313633899999999</c:v>
                </c:pt>
                <c:pt idx="52">
                  <c:v>45.5910305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6475740999999999</c:v>
                </c:pt>
                <c:pt idx="1">
                  <c:v>49.957701499999999</c:v>
                </c:pt>
                <c:pt idx="2">
                  <c:v>65.704385500000001</c:v>
                </c:pt>
                <c:pt idx="3">
                  <c:v>164.29672679999999</c:v>
                </c:pt>
                <c:pt idx="4">
                  <c:v>288.6413981</c:v>
                </c:pt>
                <c:pt idx="5">
                  <c:v>337.03641829999998</c:v>
                </c:pt>
                <c:pt idx="6">
                  <c:v>259.057976</c:v>
                </c:pt>
                <c:pt idx="7">
                  <c:v>190.61393570000001</c:v>
                </c:pt>
                <c:pt idx="8">
                  <c:v>118.0690208</c:v>
                </c:pt>
                <c:pt idx="9">
                  <c:v>105.43344860000001</c:v>
                </c:pt>
                <c:pt idx="10">
                  <c:v>100.8621411</c:v>
                </c:pt>
                <c:pt idx="11">
                  <c:v>97.814999799999995</c:v>
                </c:pt>
                <c:pt idx="12">
                  <c:v>87.090264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2</c:f>
              <c:numCache>
                <c:formatCode>m/d/yyyy</c:formatCode>
                <c:ptCount val="27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</c:numCache>
            </c:numRef>
          </c:cat>
          <c:val>
            <c:numRef>
              <c:f>Sheet1!$B$135:$B$412</c:f>
              <c:numCache>
                <c:formatCode>General</c:formatCode>
                <c:ptCount val="278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2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8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7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6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5</c:v>
                </c:pt>
                <c:pt idx="109">
                  <c:v>11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9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2</c:v>
                </c:pt>
                <c:pt idx="119">
                  <c:v>39</c:v>
                </c:pt>
                <c:pt idx="120">
                  <c:v>56</c:v>
                </c:pt>
                <c:pt idx="121">
                  <c:v>48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8</c:v>
                </c:pt>
                <c:pt idx="128">
                  <c:v>64</c:v>
                </c:pt>
                <c:pt idx="129">
                  <c:v>43</c:v>
                </c:pt>
                <c:pt idx="130">
                  <c:v>82</c:v>
                </c:pt>
                <c:pt idx="131">
                  <c:v>55</c:v>
                </c:pt>
                <c:pt idx="132">
                  <c:v>42</c:v>
                </c:pt>
                <c:pt idx="133">
                  <c:v>135</c:v>
                </c:pt>
                <c:pt idx="134">
                  <c:v>129</c:v>
                </c:pt>
                <c:pt idx="135">
                  <c:v>108</c:v>
                </c:pt>
                <c:pt idx="136">
                  <c:v>114</c:v>
                </c:pt>
                <c:pt idx="137">
                  <c:v>133</c:v>
                </c:pt>
                <c:pt idx="138">
                  <c:v>55</c:v>
                </c:pt>
                <c:pt idx="139">
                  <c:v>40</c:v>
                </c:pt>
                <c:pt idx="140">
                  <c:v>130</c:v>
                </c:pt>
                <c:pt idx="141">
                  <c:v>146</c:v>
                </c:pt>
                <c:pt idx="142">
                  <c:v>148</c:v>
                </c:pt>
                <c:pt idx="143">
                  <c:v>121</c:v>
                </c:pt>
                <c:pt idx="144">
                  <c:v>172</c:v>
                </c:pt>
                <c:pt idx="145">
                  <c:v>93</c:v>
                </c:pt>
                <c:pt idx="146">
                  <c:v>53</c:v>
                </c:pt>
                <c:pt idx="147">
                  <c:v>166</c:v>
                </c:pt>
                <c:pt idx="148">
                  <c:v>199</c:v>
                </c:pt>
                <c:pt idx="149">
                  <c:v>143</c:v>
                </c:pt>
                <c:pt idx="150">
                  <c:v>165</c:v>
                </c:pt>
                <c:pt idx="151">
                  <c:v>260</c:v>
                </c:pt>
                <c:pt idx="152">
                  <c:v>124</c:v>
                </c:pt>
                <c:pt idx="153">
                  <c:v>89</c:v>
                </c:pt>
                <c:pt idx="154">
                  <c:v>204</c:v>
                </c:pt>
                <c:pt idx="155">
                  <c:v>219</c:v>
                </c:pt>
                <c:pt idx="156">
                  <c:v>185</c:v>
                </c:pt>
                <c:pt idx="157">
                  <c:v>263</c:v>
                </c:pt>
                <c:pt idx="158">
                  <c:v>158</c:v>
                </c:pt>
                <c:pt idx="159">
                  <c:v>118</c:v>
                </c:pt>
                <c:pt idx="160">
                  <c:v>85</c:v>
                </c:pt>
                <c:pt idx="161">
                  <c:v>207</c:v>
                </c:pt>
                <c:pt idx="162">
                  <c:v>199</c:v>
                </c:pt>
                <c:pt idx="163">
                  <c:v>172</c:v>
                </c:pt>
                <c:pt idx="164">
                  <c:v>134</c:v>
                </c:pt>
                <c:pt idx="165">
                  <c:v>161</c:v>
                </c:pt>
                <c:pt idx="166">
                  <c:v>99</c:v>
                </c:pt>
                <c:pt idx="167">
                  <c:v>65</c:v>
                </c:pt>
                <c:pt idx="168">
                  <c:v>197</c:v>
                </c:pt>
                <c:pt idx="169">
                  <c:v>167</c:v>
                </c:pt>
                <c:pt idx="170">
                  <c:v>141</c:v>
                </c:pt>
                <c:pt idx="171">
                  <c:v>117</c:v>
                </c:pt>
                <c:pt idx="172">
                  <c:v>100</c:v>
                </c:pt>
                <c:pt idx="173">
                  <c:v>79</c:v>
                </c:pt>
                <c:pt idx="174">
                  <c:v>63</c:v>
                </c:pt>
                <c:pt idx="175">
                  <c:v>123</c:v>
                </c:pt>
                <c:pt idx="176">
                  <c:v>174</c:v>
                </c:pt>
                <c:pt idx="177">
                  <c:v>96</c:v>
                </c:pt>
                <c:pt idx="178">
                  <c:v>90</c:v>
                </c:pt>
                <c:pt idx="179">
                  <c:v>97</c:v>
                </c:pt>
                <c:pt idx="180">
                  <c:v>63</c:v>
                </c:pt>
                <c:pt idx="181">
                  <c:v>43</c:v>
                </c:pt>
                <c:pt idx="182">
                  <c:v>107</c:v>
                </c:pt>
                <c:pt idx="183">
                  <c:v>99</c:v>
                </c:pt>
                <c:pt idx="184">
                  <c:v>45</c:v>
                </c:pt>
                <c:pt idx="185">
                  <c:v>78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4</c:v>
                </c:pt>
                <c:pt idx="191">
                  <c:v>67</c:v>
                </c:pt>
                <c:pt idx="192">
                  <c:v>64</c:v>
                </c:pt>
                <c:pt idx="193">
                  <c:v>76</c:v>
                </c:pt>
                <c:pt idx="194">
                  <c:v>15</c:v>
                </c:pt>
                <c:pt idx="195">
                  <c:v>28</c:v>
                </c:pt>
                <c:pt idx="196">
                  <c:v>101</c:v>
                </c:pt>
                <c:pt idx="197">
                  <c:v>97</c:v>
                </c:pt>
                <c:pt idx="198">
                  <c:v>86</c:v>
                </c:pt>
                <c:pt idx="199">
                  <c:v>78</c:v>
                </c:pt>
                <c:pt idx="200">
                  <c:v>78</c:v>
                </c:pt>
                <c:pt idx="201">
                  <c:v>35</c:v>
                </c:pt>
                <c:pt idx="202">
                  <c:v>28</c:v>
                </c:pt>
                <c:pt idx="203">
                  <c:v>83</c:v>
                </c:pt>
                <c:pt idx="204">
                  <c:v>115</c:v>
                </c:pt>
                <c:pt idx="205">
                  <c:v>115</c:v>
                </c:pt>
                <c:pt idx="206">
                  <c:v>95</c:v>
                </c:pt>
                <c:pt idx="207">
                  <c:v>112</c:v>
                </c:pt>
                <c:pt idx="208">
                  <c:v>79</c:v>
                </c:pt>
                <c:pt idx="209">
                  <c:v>68</c:v>
                </c:pt>
                <c:pt idx="210">
                  <c:v>212</c:v>
                </c:pt>
                <c:pt idx="211">
                  <c:v>248</c:v>
                </c:pt>
                <c:pt idx="212">
                  <c:v>305</c:v>
                </c:pt>
                <c:pt idx="213">
                  <c:v>297</c:v>
                </c:pt>
                <c:pt idx="214">
                  <c:v>263</c:v>
                </c:pt>
                <c:pt idx="215">
                  <c:v>174</c:v>
                </c:pt>
                <c:pt idx="216">
                  <c:v>166</c:v>
                </c:pt>
                <c:pt idx="217">
                  <c:v>370</c:v>
                </c:pt>
                <c:pt idx="218">
                  <c:v>358</c:v>
                </c:pt>
                <c:pt idx="219">
                  <c:v>451</c:v>
                </c:pt>
                <c:pt idx="220">
                  <c:v>644</c:v>
                </c:pt>
                <c:pt idx="221">
                  <c:v>543</c:v>
                </c:pt>
                <c:pt idx="222">
                  <c:v>222</c:v>
                </c:pt>
                <c:pt idx="223">
                  <c:v>240</c:v>
                </c:pt>
                <c:pt idx="224">
                  <c:v>515</c:v>
                </c:pt>
                <c:pt idx="225">
                  <c:v>657</c:v>
                </c:pt>
                <c:pt idx="226">
                  <c:v>515</c:v>
                </c:pt>
                <c:pt idx="227">
                  <c:v>484</c:v>
                </c:pt>
                <c:pt idx="228">
                  <c:v>411</c:v>
                </c:pt>
                <c:pt idx="229">
                  <c:v>268</c:v>
                </c:pt>
                <c:pt idx="230">
                  <c:v>147</c:v>
                </c:pt>
                <c:pt idx="231">
                  <c:v>574</c:v>
                </c:pt>
                <c:pt idx="232">
                  <c:v>486</c:v>
                </c:pt>
                <c:pt idx="233">
                  <c:v>411</c:v>
                </c:pt>
                <c:pt idx="234">
                  <c:v>359</c:v>
                </c:pt>
                <c:pt idx="235">
                  <c:v>311</c:v>
                </c:pt>
                <c:pt idx="236">
                  <c:v>159</c:v>
                </c:pt>
                <c:pt idx="237">
                  <c:v>123</c:v>
                </c:pt>
                <c:pt idx="238">
                  <c:v>323</c:v>
                </c:pt>
                <c:pt idx="239">
                  <c:v>374</c:v>
                </c:pt>
                <c:pt idx="240">
                  <c:v>250</c:v>
                </c:pt>
                <c:pt idx="241">
                  <c:v>233</c:v>
                </c:pt>
                <c:pt idx="242">
                  <c:v>197</c:v>
                </c:pt>
                <c:pt idx="243">
                  <c:v>108</c:v>
                </c:pt>
                <c:pt idx="244">
                  <c:v>70</c:v>
                </c:pt>
                <c:pt idx="245">
                  <c:v>260</c:v>
                </c:pt>
                <c:pt idx="246">
                  <c:v>211</c:v>
                </c:pt>
                <c:pt idx="247">
                  <c:v>160</c:v>
                </c:pt>
                <c:pt idx="248">
                  <c:v>171</c:v>
                </c:pt>
                <c:pt idx="249">
                  <c:v>133</c:v>
                </c:pt>
                <c:pt idx="250">
                  <c:v>85</c:v>
                </c:pt>
                <c:pt idx="251">
                  <c:v>52</c:v>
                </c:pt>
                <c:pt idx="252">
                  <c:v>218</c:v>
                </c:pt>
                <c:pt idx="253">
                  <c:v>182</c:v>
                </c:pt>
                <c:pt idx="254">
                  <c:v>147</c:v>
                </c:pt>
                <c:pt idx="255">
                  <c:v>124</c:v>
                </c:pt>
                <c:pt idx="256">
                  <c:v>111</c:v>
                </c:pt>
                <c:pt idx="257">
                  <c:v>68</c:v>
                </c:pt>
                <c:pt idx="258">
                  <c:v>48</c:v>
                </c:pt>
                <c:pt idx="259">
                  <c:v>210</c:v>
                </c:pt>
                <c:pt idx="260">
                  <c:v>166</c:v>
                </c:pt>
                <c:pt idx="261">
                  <c:v>179</c:v>
                </c:pt>
                <c:pt idx="262">
                  <c:v>123</c:v>
                </c:pt>
                <c:pt idx="263">
                  <c:v>124</c:v>
                </c:pt>
                <c:pt idx="264">
                  <c:v>65</c:v>
                </c:pt>
                <c:pt idx="265">
                  <c:v>44</c:v>
                </c:pt>
                <c:pt idx="266">
                  <c:v>227</c:v>
                </c:pt>
                <c:pt idx="267">
                  <c:v>166</c:v>
                </c:pt>
                <c:pt idx="268">
                  <c:v>137</c:v>
                </c:pt>
                <c:pt idx="269">
                  <c:v>128</c:v>
                </c:pt>
                <c:pt idx="270">
                  <c:v>151</c:v>
                </c:pt>
                <c:pt idx="271">
                  <c:v>62</c:v>
                </c:pt>
                <c:pt idx="272">
                  <c:v>36</c:v>
                </c:pt>
                <c:pt idx="273">
                  <c:v>201</c:v>
                </c:pt>
                <c:pt idx="274">
                  <c:v>166</c:v>
                </c:pt>
                <c:pt idx="275">
                  <c:v>148</c:v>
                </c:pt>
                <c:pt idx="276">
                  <c:v>120</c:v>
                </c:pt>
                <c:pt idx="277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32531850000000001</c:v>
                </c:pt>
                <c:pt idx="11">
                  <c:v>1.3012741999999999</c:v>
                </c:pt>
                <c:pt idx="12">
                  <c:v>5.3677562999999999</c:v>
                </c:pt>
                <c:pt idx="13">
                  <c:v>8.2948947999999998</c:v>
                </c:pt>
                <c:pt idx="14">
                  <c:v>14.458684699999999</c:v>
                </c:pt>
                <c:pt idx="15">
                  <c:v>8.1110500000000005</c:v>
                </c:pt>
                <c:pt idx="16">
                  <c:v>7.613321</c:v>
                </c:pt>
                <c:pt idx="17">
                  <c:v>3.3967665999999999</c:v>
                </c:pt>
                <c:pt idx="18">
                  <c:v>3.7167992000000001</c:v>
                </c:pt>
                <c:pt idx="19">
                  <c:v>0.64628289999999999</c:v>
                </c:pt>
                <c:pt idx="20">
                  <c:v>0.64616589999999996</c:v>
                </c:pt>
                <c:pt idx="21">
                  <c:v>0.96907359999999998</c:v>
                </c:pt>
                <c:pt idx="22">
                  <c:v>1.4533217</c:v>
                </c:pt>
                <c:pt idx="23">
                  <c:v>2.583024</c:v>
                </c:pt>
                <c:pt idx="24">
                  <c:v>2.0981616000000001</c:v>
                </c:pt>
                <c:pt idx="25">
                  <c:v>1.6135512000000001</c:v>
                </c:pt>
                <c:pt idx="26">
                  <c:v>1.2905015</c:v>
                </c:pt>
                <c:pt idx="27">
                  <c:v>2.2579552000000001</c:v>
                </c:pt>
                <c:pt idx="28">
                  <c:v>2.5801832</c:v>
                </c:pt>
                <c:pt idx="29">
                  <c:v>4.0310031999999998</c:v>
                </c:pt>
                <c:pt idx="30">
                  <c:v>3.3855949999999999</c:v>
                </c:pt>
                <c:pt idx="31">
                  <c:v>3.8683285000000001</c:v>
                </c:pt>
                <c:pt idx="32">
                  <c:v>6.4447834999999998</c:v>
                </c:pt>
                <c:pt idx="33">
                  <c:v>7.0866014000000002</c:v>
                </c:pt>
                <c:pt idx="34">
                  <c:v>5.9569329</c:v>
                </c:pt>
                <c:pt idx="35">
                  <c:v>7.2412809999999999</c:v>
                </c:pt>
                <c:pt idx="36">
                  <c:v>20.571105299999999</c:v>
                </c:pt>
                <c:pt idx="37">
                  <c:v>38.516906499999997</c:v>
                </c:pt>
                <c:pt idx="38">
                  <c:v>45.674833599999999</c:v>
                </c:pt>
                <c:pt idx="39">
                  <c:v>56.4920215</c:v>
                </c:pt>
                <c:pt idx="40">
                  <c:v>118.7155077</c:v>
                </c:pt>
                <c:pt idx="41">
                  <c:v>219.69886729999999</c:v>
                </c:pt>
                <c:pt idx="42">
                  <c:v>365.16119980000002</c:v>
                </c:pt>
                <c:pt idx="43">
                  <c:v>386.91058570000001</c:v>
                </c:pt>
                <c:pt idx="44">
                  <c:v>337.95474669999999</c:v>
                </c:pt>
                <c:pt idx="45">
                  <c:v>217.0915737</c:v>
                </c:pt>
                <c:pt idx="46">
                  <c:v>146.14840670000001</c:v>
                </c:pt>
                <c:pt idx="47">
                  <c:v>121.7272086</c:v>
                </c:pt>
                <c:pt idx="48">
                  <c:v>110.6158396</c:v>
                </c:pt>
                <c:pt idx="49">
                  <c:v>128.97517690000001</c:v>
                </c:pt>
                <c:pt idx="50">
                  <c:v>145.74247080000001</c:v>
                </c:pt>
                <c:pt idx="51">
                  <c:v>170.0200552</c:v>
                </c:pt>
                <c:pt idx="52">
                  <c:v>215.3563117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60.542504000000001</c:v>
                </c:pt>
                <c:pt idx="1">
                  <c:v>247.1809781</c:v>
                </c:pt>
                <c:pt idx="2">
                  <c:v>173.88481859999999</c:v>
                </c:pt>
                <c:pt idx="3">
                  <c:v>137.47521879999999</c:v>
                </c:pt>
                <c:pt idx="4">
                  <c:v>115.7280267</c:v>
                </c:pt>
                <c:pt idx="5">
                  <c:v>98.144389899999993</c:v>
                </c:pt>
                <c:pt idx="6">
                  <c:v>105.6483119</c:v>
                </c:pt>
                <c:pt idx="7">
                  <c:v>103.86179869999999</c:v>
                </c:pt>
                <c:pt idx="8">
                  <c:v>120.6880771</c:v>
                </c:pt>
                <c:pt idx="9">
                  <c:v>130.65242420000001</c:v>
                </c:pt>
                <c:pt idx="10">
                  <c:v>106.33235519999999</c:v>
                </c:pt>
                <c:pt idx="11">
                  <c:v>86.540143599999993</c:v>
                </c:pt>
                <c:pt idx="12">
                  <c:v>59.5293317</c:v>
                </c:pt>
                <c:pt idx="13">
                  <c:v>42.465271100000002</c:v>
                </c:pt>
                <c:pt idx="14">
                  <c:v>31.122505499999999</c:v>
                </c:pt>
                <c:pt idx="15">
                  <c:v>22.745540399999999</c:v>
                </c:pt>
                <c:pt idx="16">
                  <c:v>17.783065000000001</c:v>
                </c:pt>
                <c:pt idx="17">
                  <c:v>14.3744953</c:v>
                </c:pt>
                <c:pt idx="18">
                  <c:v>12.0668902</c:v>
                </c:pt>
                <c:pt idx="19">
                  <c:v>9.0164021999999999</c:v>
                </c:pt>
                <c:pt idx="20">
                  <c:v>5.3513301000000002</c:v>
                </c:pt>
                <c:pt idx="21">
                  <c:v>2.4475273</c:v>
                </c:pt>
                <c:pt idx="22">
                  <c:v>1.5303389000000001</c:v>
                </c:pt>
                <c:pt idx="23">
                  <c:v>1.2244565999999999</c:v>
                </c:pt>
                <c:pt idx="24">
                  <c:v>0.61230700000000005</c:v>
                </c:pt>
                <c:pt idx="25">
                  <c:v>1.2247716</c:v>
                </c:pt>
                <c:pt idx="26">
                  <c:v>0.76555139999999999</c:v>
                </c:pt>
                <c:pt idx="27">
                  <c:v>1.683481</c:v>
                </c:pt>
                <c:pt idx="28">
                  <c:v>2.1413308</c:v>
                </c:pt>
                <c:pt idx="29">
                  <c:v>2.5986532000000002</c:v>
                </c:pt>
                <c:pt idx="30">
                  <c:v>1.9860153</c:v>
                </c:pt>
                <c:pt idx="31">
                  <c:v>1.9862915000000001</c:v>
                </c:pt>
                <c:pt idx="32">
                  <c:v>2.7533080999999999</c:v>
                </c:pt>
                <c:pt idx="33">
                  <c:v>1.3781866</c:v>
                </c:pt>
                <c:pt idx="34">
                  <c:v>2.6061428000000002</c:v>
                </c:pt>
                <c:pt idx="35">
                  <c:v>2.3018879999999999</c:v>
                </c:pt>
                <c:pt idx="36">
                  <c:v>3.2240483000000002</c:v>
                </c:pt>
                <c:pt idx="37">
                  <c:v>3.8394495000000002</c:v>
                </c:pt>
                <c:pt idx="38">
                  <c:v>6.2988350999999998</c:v>
                </c:pt>
                <c:pt idx="39">
                  <c:v>7.2231681999999999</c:v>
                </c:pt>
                <c:pt idx="40">
                  <c:v>10.3033173</c:v>
                </c:pt>
                <c:pt idx="41">
                  <c:v>17.0814956</c:v>
                </c:pt>
                <c:pt idx="42">
                  <c:v>39.114593399999997</c:v>
                </c:pt>
                <c:pt idx="43">
                  <c:v>59.483082699999997</c:v>
                </c:pt>
                <c:pt idx="44">
                  <c:v>105.6267443</c:v>
                </c:pt>
                <c:pt idx="45">
                  <c:v>118.6409822</c:v>
                </c:pt>
                <c:pt idx="46">
                  <c:v>158.21807849999999</c:v>
                </c:pt>
                <c:pt idx="47">
                  <c:v>179.7663963</c:v>
                </c:pt>
                <c:pt idx="48">
                  <c:v>155.7562599</c:v>
                </c:pt>
                <c:pt idx="49">
                  <c:v>127.0691243</c:v>
                </c:pt>
                <c:pt idx="50">
                  <c:v>105.46549400000001</c:v>
                </c:pt>
                <c:pt idx="51">
                  <c:v>65.127532299999999</c:v>
                </c:pt>
                <c:pt idx="52">
                  <c:v>58.6514802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4.01</c:v>
                </c:pt>
                <c:pt idx="2">
                  <c:v>15.01 - 21.01</c:v>
                </c:pt>
                <c:pt idx="3">
                  <c:v>22.01 - 28.01</c:v>
                </c:pt>
                <c:pt idx="4">
                  <c:v>29.01 - 04.02</c:v>
                </c:pt>
                <c:pt idx="5">
                  <c:v>05.02 - 11.02</c:v>
                </c:pt>
                <c:pt idx="6">
                  <c:v>12.02 - 18.02</c:v>
                </c:pt>
                <c:pt idx="7">
                  <c:v>19.02 - 25.02</c:v>
                </c:pt>
                <c:pt idx="8">
                  <c:v>26.02 - 04.03</c:v>
                </c:pt>
                <c:pt idx="9">
                  <c:v>05.03 - 11.03</c:v>
                </c:pt>
                <c:pt idx="10">
                  <c:v>12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007002099999999</c:v>
                </c:pt>
                <c:pt idx="1">
                  <c:v>66.389835500000004</c:v>
                </c:pt>
                <c:pt idx="2">
                  <c:v>81.531040899999994</c:v>
                </c:pt>
                <c:pt idx="3">
                  <c:v>187.60086269999999</c:v>
                </c:pt>
                <c:pt idx="4">
                  <c:v>307.16483099999999</c:v>
                </c:pt>
                <c:pt idx="5">
                  <c:v>342.38944520000001</c:v>
                </c:pt>
                <c:pt idx="6">
                  <c:v>277.8806965</c:v>
                </c:pt>
                <c:pt idx="7">
                  <c:v>175.28456249999999</c:v>
                </c:pt>
                <c:pt idx="8">
                  <c:v>120.2087389</c:v>
                </c:pt>
                <c:pt idx="9">
                  <c:v>102.1890465</c:v>
                </c:pt>
                <c:pt idx="10">
                  <c:v>102.537972</c:v>
                </c:pt>
                <c:pt idx="11">
                  <c:v>103.9792104</c:v>
                </c:pt>
                <c:pt idx="12">
                  <c:v>87.641039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412</c:f>
              <c:numCache>
                <c:formatCode>m/d/yyyy</c:formatCode>
                <c:ptCount val="27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  <c:pt idx="244">
                  <c:v>44612</c:v>
                </c:pt>
                <c:pt idx="245">
                  <c:v>44613</c:v>
                </c:pt>
                <c:pt idx="246">
                  <c:v>44614</c:v>
                </c:pt>
                <c:pt idx="247">
                  <c:v>44615</c:v>
                </c:pt>
                <c:pt idx="248">
                  <c:v>44616</c:v>
                </c:pt>
                <c:pt idx="249">
                  <c:v>44617</c:v>
                </c:pt>
                <c:pt idx="250">
                  <c:v>44618</c:v>
                </c:pt>
                <c:pt idx="251">
                  <c:v>44619</c:v>
                </c:pt>
                <c:pt idx="252">
                  <c:v>44620</c:v>
                </c:pt>
                <c:pt idx="253">
                  <c:v>44621</c:v>
                </c:pt>
                <c:pt idx="254">
                  <c:v>44622</c:v>
                </c:pt>
                <c:pt idx="255">
                  <c:v>44623</c:v>
                </c:pt>
                <c:pt idx="256">
                  <c:v>44624</c:v>
                </c:pt>
                <c:pt idx="257">
                  <c:v>44625</c:v>
                </c:pt>
                <c:pt idx="258">
                  <c:v>44626</c:v>
                </c:pt>
                <c:pt idx="259">
                  <c:v>44627</c:v>
                </c:pt>
                <c:pt idx="260">
                  <c:v>44628</c:v>
                </c:pt>
                <c:pt idx="261">
                  <c:v>44629</c:v>
                </c:pt>
                <c:pt idx="262">
                  <c:v>44630</c:v>
                </c:pt>
                <c:pt idx="263">
                  <c:v>44631</c:v>
                </c:pt>
                <c:pt idx="264">
                  <c:v>44632</c:v>
                </c:pt>
                <c:pt idx="265">
                  <c:v>44633</c:v>
                </c:pt>
                <c:pt idx="266">
                  <c:v>44634</c:v>
                </c:pt>
                <c:pt idx="267">
                  <c:v>44635</c:v>
                </c:pt>
                <c:pt idx="268">
                  <c:v>44636</c:v>
                </c:pt>
                <c:pt idx="269">
                  <c:v>44637</c:v>
                </c:pt>
                <c:pt idx="270">
                  <c:v>44638</c:v>
                </c:pt>
                <c:pt idx="271">
                  <c:v>44639</c:v>
                </c:pt>
                <c:pt idx="272">
                  <c:v>44640</c:v>
                </c:pt>
                <c:pt idx="273">
                  <c:v>44641</c:v>
                </c:pt>
                <c:pt idx="274">
                  <c:v>44642</c:v>
                </c:pt>
                <c:pt idx="275">
                  <c:v>44643</c:v>
                </c:pt>
                <c:pt idx="276">
                  <c:v>44644</c:v>
                </c:pt>
                <c:pt idx="277">
                  <c:v>44645</c:v>
                </c:pt>
              </c:numCache>
            </c:numRef>
          </c:cat>
          <c:val>
            <c:numRef>
              <c:f>Sheet1!$B$135:$B$412</c:f>
              <c:numCache>
                <c:formatCode>General</c:formatCode>
                <c:ptCount val="278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7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4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7</c:v>
                </c:pt>
                <c:pt idx="88">
                  <c:v>11</c:v>
                </c:pt>
                <c:pt idx="89">
                  <c:v>5</c:v>
                </c:pt>
                <c:pt idx="90">
                  <c:v>9</c:v>
                </c:pt>
                <c:pt idx="91">
                  <c:v>17</c:v>
                </c:pt>
                <c:pt idx="92">
                  <c:v>19</c:v>
                </c:pt>
                <c:pt idx="93">
                  <c:v>16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8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5</c:v>
                </c:pt>
                <c:pt idx="105">
                  <c:v>20</c:v>
                </c:pt>
                <c:pt idx="106">
                  <c:v>29</c:v>
                </c:pt>
                <c:pt idx="107">
                  <c:v>26</c:v>
                </c:pt>
                <c:pt idx="108">
                  <c:v>29</c:v>
                </c:pt>
                <c:pt idx="109">
                  <c:v>26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8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0</c:v>
                </c:pt>
                <c:pt idx="119">
                  <c:v>91</c:v>
                </c:pt>
                <c:pt idx="120">
                  <c:v>101</c:v>
                </c:pt>
                <c:pt idx="121">
                  <c:v>88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6</c:v>
                </c:pt>
                <c:pt idx="126">
                  <c:v>174</c:v>
                </c:pt>
                <c:pt idx="127">
                  <c:v>176</c:v>
                </c:pt>
                <c:pt idx="128">
                  <c:v>164</c:v>
                </c:pt>
                <c:pt idx="129">
                  <c:v>98</c:v>
                </c:pt>
                <c:pt idx="130">
                  <c:v>202</c:v>
                </c:pt>
                <c:pt idx="131">
                  <c:v>139</c:v>
                </c:pt>
                <c:pt idx="132">
                  <c:v>97</c:v>
                </c:pt>
                <c:pt idx="133">
                  <c:v>303</c:v>
                </c:pt>
                <c:pt idx="134">
                  <c:v>270</c:v>
                </c:pt>
                <c:pt idx="135">
                  <c:v>263</c:v>
                </c:pt>
                <c:pt idx="136">
                  <c:v>244</c:v>
                </c:pt>
                <c:pt idx="137">
                  <c:v>283</c:v>
                </c:pt>
                <c:pt idx="138">
                  <c:v>160</c:v>
                </c:pt>
                <c:pt idx="139">
                  <c:v>86</c:v>
                </c:pt>
                <c:pt idx="140">
                  <c:v>317</c:v>
                </c:pt>
                <c:pt idx="141">
                  <c:v>339</c:v>
                </c:pt>
                <c:pt idx="142">
                  <c:v>363</c:v>
                </c:pt>
                <c:pt idx="143">
                  <c:v>267</c:v>
                </c:pt>
                <c:pt idx="144">
                  <c:v>377</c:v>
                </c:pt>
                <c:pt idx="145">
                  <c:v>240</c:v>
                </c:pt>
                <c:pt idx="146">
                  <c:v>130</c:v>
                </c:pt>
                <c:pt idx="147">
                  <c:v>388</c:v>
                </c:pt>
                <c:pt idx="148">
                  <c:v>487</c:v>
                </c:pt>
                <c:pt idx="149">
                  <c:v>308</c:v>
                </c:pt>
                <c:pt idx="150">
                  <c:v>390</c:v>
                </c:pt>
                <c:pt idx="151">
                  <c:v>577</c:v>
                </c:pt>
                <c:pt idx="152">
                  <c:v>330</c:v>
                </c:pt>
                <c:pt idx="153">
                  <c:v>205</c:v>
                </c:pt>
                <c:pt idx="154">
                  <c:v>457</c:v>
                </c:pt>
                <c:pt idx="155">
                  <c:v>546</c:v>
                </c:pt>
                <c:pt idx="156">
                  <c:v>367</c:v>
                </c:pt>
                <c:pt idx="157">
                  <c:v>550</c:v>
                </c:pt>
                <c:pt idx="158">
                  <c:v>396</c:v>
                </c:pt>
                <c:pt idx="159">
                  <c:v>260</c:v>
                </c:pt>
                <c:pt idx="160">
                  <c:v>203</c:v>
                </c:pt>
                <c:pt idx="161">
                  <c:v>477</c:v>
                </c:pt>
                <c:pt idx="162">
                  <c:v>416</c:v>
                </c:pt>
                <c:pt idx="163">
                  <c:v>407</c:v>
                </c:pt>
                <c:pt idx="164">
                  <c:v>329</c:v>
                </c:pt>
                <c:pt idx="165">
                  <c:v>358</c:v>
                </c:pt>
                <c:pt idx="166">
                  <c:v>210</c:v>
                </c:pt>
                <c:pt idx="167">
                  <c:v>149</c:v>
                </c:pt>
                <c:pt idx="168">
                  <c:v>413</c:v>
                </c:pt>
                <c:pt idx="169">
                  <c:v>365</c:v>
                </c:pt>
                <c:pt idx="170">
                  <c:v>291</c:v>
                </c:pt>
                <c:pt idx="171">
                  <c:v>275</c:v>
                </c:pt>
                <c:pt idx="172">
                  <c:v>246</c:v>
                </c:pt>
                <c:pt idx="173">
                  <c:v>173</c:v>
                </c:pt>
                <c:pt idx="174">
                  <c:v>134</c:v>
                </c:pt>
                <c:pt idx="175">
                  <c:v>255</c:v>
                </c:pt>
                <c:pt idx="176">
                  <c:v>325</c:v>
                </c:pt>
                <c:pt idx="177">
                  <c:v>209</c:v>
                </c:pt>
                <c:pt idx="178">
                  <c:v>173</c:v>
                </c:pt>
                <c:pt idx="179">
                  <c:v>203</c:v>
                </c:pt>
                <c:pt idx="180">
                  <c:v>130</c:v>
                </c:pt>
                <c:pt idx="181">
                  <c:v>92</c:v>
                </c:pt>
                <c:pt idx="182">
                  <c:v>224</c:v>
                </c:pt>
                <c:pt idx="183">
                  <c:v>213</c:v>
                </c:pt>
                <c:pt idx="184">
                  <c:v>119</c:v>
                </c:pt>
                <c:pt idx="185">
                  <c:v>162</c:v>
                </c:pt>
                <c:pt idx="186">
                  <c:v>48</c:v>
                </c:pt>
                <c:pt idx="187">
                  <c:v>44</c:v>
                </c:pt>
                <c:pt idx="188">
                  <c:v>49</c:v>
                </c:pt>
                <c:pt idx="189">
                  <c:v>172</c:v>
                </c:pt>
                <c:pt idx="190">
                  <c:v>221</c:v>
                </c:pt>
                <c:pt idx="191">
                  <c:v>150</c:v>
                </c:pt>
                <c:pt idx="192">
                  <c:v>139</c:v>
                </c:pt>
                <c:pt idx="193">
                  <c:v>151</c:v>
                </c:pt>
                <c:pt idx="194">
                  <c:v>33</c:v>
                </c:pt>
                <c:pt idx="195">
                  <c:v>90</c:v>
                </c:pt>
                <c:pt idx="196">
                  <c:v>242</c:v>
                </c:pt>
                <c:pt idx="197">
                  <c:v>209</c:v>
                </c:pt>
                <c:pt idx="198">
                  <c:v>163</c:v>
                </c:pt>
                <c:pt idx="199">
                  <c:v>163</c:v>
                </c:pt>
                <c:pt idx="200">
                  <c:v>165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0</c:v>
                </c:pt>
                <c:pt idx="206">
                  <c:v>239</c:v>
                </c:pt>
                <c:pt idx="207">
                  <c:v>283</c:v>
                </c:pt>
                <c:pt idx="208">
                  <c:v>212</c:v>
                </c:pt>
                <c:pt idx="209">
                  <c:v>187</c:v>
                </c:pt>
                <c:pt idx="210">
                  <c:v>584</c:v>
                </c:pt>
                <c:pt idx="211">
                  <c:v>626</c:v>
                </c:pt>
                <c:pt idx="212">
                  <c:v>741</c:v>
                </c:pt>
                <c:pt idx="213">
                  <c:v>713</c:v>
                </c:pt>
                <c:pt idx="214">
                  <c:v>680</c:v>
                </c:pt>
                <c:pt idx="215">
                  <c:v>414</c:v>
                </c:pt>
                <c:pt idx="216">
                  <c:v>443</c:v>
                </c:pt>
                <c:pt idx="217">
                  <c:v>990</c:v>
                </c:pt>
                <c:pt idx="218">
                  <c:v>914</c:v>
                </c:pt>
                <c:pt idx="219">
                  <c:v>1076</c:v>
                </c:pt>
                <c:pt idx="220">
                  <c:v>1661</c:v>
                </c:pt>
                <c:pt idx="221">
                  <c:v>1343</c:v>
                </c:pt>
                <c:pt idx="222">
                  <c:v>512</c:v>
                </c:pt>
                <c:pt idx="223">
                  <c:v>687</c:v>
                </c:pt>
                <c:pt idx="224">
                  <c:v>1365</c:v>
                </c:pt>
                <c:pt idx="225">
                  <c:v>1606</c:v>
                </c:pt>
                <c:pt idx="226">
                  <c:v>1262</c:v>
                </c:pt>
                <c:pt idx="227">
                  <c:v>1176</c:v>
                </c:pt>
                <c:pt idx="228">
                  <c:v>969</c:v>
                </c:pt>
                <c:pt idx="229">
                  <c:v>699</c:v>
                </c:pt>
                <c:pt idx="230">
                  <c:v>387</c:v>
                </c:pt>
                <c:pt idx="231">
                  <c:v>1362</c:v>
                </c:pt>
                <c:pt idx="232">
                  <c:v>1169</c:v>
                </c:pt>
                <c:pt idx="233">
                  <c:v>960</c:v>
                </c:pt>
                <c:pt idx="234">
                  <c:v>844</c:v>
                </c:pt>
                <c:pt idx="235">
                  <c:v>772</c:v>
                </c:pt>
                <c:pt idx="236">
                  <c:v>411</c:v>
                </c:pt>
                <c:pt idx="237">
                  <c:v>322</c:v>
                </c:pt>
                <c:pt idx="238">
                  <c:v>902</c:v>
                </c:pt>
                <c:pt idx="239">
                  <c:v>890</c:v>
                </c:pt>
                <c:pt idx="240">
                  <c:v>655</c:v>
                </c:pt>
                <c:pt idx="241">
                  <c:v>581</c:v>
                </c:pt>
                <c:pt idx="242">
                  <c:v>512</c:v>
                </c:pt>
                <c:pt idx="243">
                  <c:v>283</c:v>
                </c:pt>
                <c:pt idx="244">
                  <c:v>206</c:v>
                </c:pt>
                <c:pt idx="245">
                  <c:v>647</c:v>
                </c:pt>
                <c:pt idx="246">
                  <c:v>518</c:v>
                </c:pt>
                <c:pt idx="247">
                  <c:v>399</c:v>
                </c:pt>
                <c:pt idx="248">
                  <c:v>395</c:v>
                </c:pt>
                <c:pt idx="249">
                  <c:v>341</c:v>
                </c:pt>
                <c:pt idx="250">
                  <c:v>217</c:v>
                </c:pt>
                <c:pt idx="251">
                  <c:v>162</c:v>
                </c:pt>
                <c:pt idx="252">
                  <c:v>530</c:v>
                </c:pt>
                <c:pt idx="253">
                  <c:v>451</c:v>
                </c:pt>
                <c:pt idx="254">
                  <c:v>369</c:v>
                </c:pt>
                <c:pt idx="255">
                  <c:v>324</c:v>
                </c:pt>
                <c:pt idx="256">
                  <c:v>325</c:v>
                </c:pt>
                <c:pt idx="257">
                  <c:v>206</c:v>
                </c:pt>
                <c:pt idx="258">
                  <c:v>139</c:v>
                </c:pt>
                <c:pt idx="259">
                  <c:v>529</c:v>
                </c:pt>
                <c:pt idx="260">
                  <c:v>408</c:v>
                </c:pt>
                <c:pt idx="261">
                  <c:v>410</c:v>
                </c:pt>
                <c:pt idx="262">
                  <c:v>334</c:v>
                </c:pt>
                <c:pt idx="263">
                  <c:v>318</c:v>
                </c:pt>
                <c:pt idx="264">
                  <c:v>169</c:v>
                </c:pt>
                <c:pt idx="265">
                  <c:v>126</c:v>
                </c:pt>
                <c:pt idx="266">
                  <c:v>536</c:v>
                </c:pt>
                <c:pt idx="267">
                  <c:v>403</c:v>
                </c:pt>
                <c:pt idx="268">
                  <c:v>361</c:v>
                </c:pt>
                <c:pt idx="269">
                  <c:v>336</c:v>
                </c:pt>
                <c:pt idx="270">
                  <c:v>356</c:v>
                </c:pt>
                <c:pt idx="271">
                  <c:v>164</c:v>
                </c:pt>
                <c:pt idx="272">
                  <c:v>108</c:v>
                </c:pt>
                <c:pt idx="273">
                  <c:v>537</c:v>
                </c:pt>
                <c:pt idx="274">
                  <c:v>414</c:v>
                </c:pt>
                <c:pt idx="275">
                  <c:v>350</c:v>
                </c:pt>
                <c:pt idx="276">
                  <c:v>319</c:v>
                </c:pt>
                <c:pt idx="277">
                  <c:v>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9</c:f>
              <c:numCache>
                <c:formatCode>m/d/yyyy</c:formatCode>
                <c:ptCount val="41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  <c:pt idx="411">
                  <c:v>44639</c:v>
                </c:pt>
                <c:pt idx="412">
                  <c:v>44640</c:v>
                </c:pt>
                <c:pt idx="413">
                  <c:v>44641</c:v>
                </c:pt>
                <c:pt idx="414">
                  <c:v>44642</c:v>
                </c:pt>
                <c:pt idx="415">
                  <c:v>44643</c:v>
                </c:pt>
                <c:pt idx="416">
                  <c:v>44644</c:v>
                </c:pt>
                <c:pt idx="417">
                  <c:v>44645</c:v>
                </c:pt>
              </c:numCache>
            </c:numRef>
          </c:cat>
          <c:val>
            <c:numRef>
              <c:f>List1!$B$2:$B$419</c:f>
              <c:numCache>
                <c:formatCode>General</c:formatCode>
                <c:ptCount val="418"/>
                <c:pt idx="0">
                  <c:v>18.539652196123999</c:v>
                </c:pt>
                <c:pt idx="1">
                  <c:v>26.588341842986999</c:v>
                </c:pt>
                <c:pt idx="2">
                  <c:v>22.616001239690998</c:v>
                </c:pt>
                <c:pt idx="3">
                  <c:v>21.901099687908999</c:v>
                </c:pt>
                <c:pt idx="4">
                  <c:v>19.438235008261</c:v>
                </c:pt>
                <c:pt idx="5">
                  <c:v>11.446643801642001</c:v>
                </c:pt>
                <c:pt idx="6">
                  <c:v>5.1035814382740003</c:v>
                </c:pt>
                <c:pt idx="7">
                  <c:v>23.648692227319</c:v>
                </c:pt>
                <c:pt idx="8">
                  <c:v>29.679677713617</c:v>
                </c:pt>
                <c:pt idx="9">
                  <c:v>27.971531197137001</c:v>
                </c:pt>
                <c:pt idx="10">
                  <c:v>22.208927082199999</c:v>
                </c:pt>
                <c:pt idx="11">
                  <c:v>26.969594107608</c:v>
                </c:pt>
                <c:pt idx="12">
                  <c:v>11.192046185842999</c:v>
                </c:pt>
                <c:pt idx="13">
                  <c:v>7.4821597254040002</c:v>
                </c:pt>
                <c:pt idx="14">
                  <c:v>31.132355617712999</c:v>
                </c:pt>
                <c:pt idx="15">
                  <c:v>32.078805286586999</c:v>
                </c:pt>
                <c:pt idx="16">
                  <c:v>30.980665017749999</c:v>
                </c:pt>
                <c:pt idx="17">
                  <c:v>29.361800297812</c:v>
                </c:pt>
                <c:pt idx="18">
                  <c:v>31.230312787736001</c:v>
                </c:pt>
                <c:pt idx="19">
                  <c:v>15.678218089419</c:v>
                </c:pt>
                <c:pt idx="20">
                  <c:v>7.5950740519720004</c:v>
                </c:pt>
                <c:pt idx="21">
                  <c:v>40.580805834741</c:v>
                </c:pt>
                <c:pt idx="22">
                  <c:v>46.542251282749</c:v>
                </c:pt>
                <c:pt idx="23">
                  <c:v>38.209923001215003</c:v>
                </c:pt>
                <c:pt idx="24">
                  <c:v>47.774081675985002</c:v>
                </c:pt>
                <c:pt idx="25">
                  <c:v>58.213156173294998</c:v>
                </c:pt>
                <c:pt idx="26">
                  <c:v>20.450635774176</c:v>
                </c:pt>
                <c:pt idx="27">
                  <c:v>9.0283671295199994</c:v>
                </c:pt>
                <c:pt idx="28">
                  <c:v>61.536961780063002</c:v>
                </c:pt>
                <c:pt idx="29">
                  <c:v>60.907709439464</c:v>
                </c:pt>
                <c:pt idx="30">
                  <c:v>54.565183692449999</c:v>
                </c:pt>
                <c:pt idx="31">
                  <c:v>44.416084878512002</c:v>
                </c:pt>
                <c:pt idx="32">
                  <c:v>51.705656094330998</c:v>
                </c:pt>
                <c:pt idx="33">
                  <c:v>21.447991774064</c:v>
                </c:pt>
                <c:pt idx="34">
                  <c:v>10.728598024675</c:v>
                </c:pt>
                <c:pt idx="35">
                  <c:v>49.502437043054002</c:v>
                </c:pt>
                <c:pt idx="36">
                  <c:v>53.670006133713997</c:v>
                </c:pt>
                <c:pt idx="37">
                  <c:v>48.171413156576001</c:v>
                </c:pt>
                <c:pt idx="38">
                  <c:v>46.499912812662998</c:v>
                </c:pt>
                <c:pt idx="39">
                  <c:v>54.603603837853001</c:v>
                </c:pt>
                <c:pt idx="40">
                  <c:v>22.754016083838</c:v>
                </c:pt>
                <c:pt idx="41">
                  <c:v>7.8022899721060002</c:v>
                </c:pt>
                <c:pt idx="42">
                  <c:v>36.537545590374002</c:v>
                </c:pt>
                <c:pt idx="43">
                  <c:v>53.054915112134999</c:v>
                </c:pt>
                <c:pt idx="44">
                  <c:v>33.551527910266003</c:v>
                </c:pt>
                <c:pt idx="45">
                  <c:v>35.663102557835998</c:v>
                </c:pt>
                <c:pt idx="46">
                  <c:v>29.228500445070001</c:v>
                </c:pt>
                <c:pt idx="47">
                  <c:v>11.957272678960001</c:v>
                </c:pt>
                <c:pt idx="48">
                  <c:v>5.979152687629</c:v>
                </c:pt>
                <c:pt idx="49">
                  <c:v>45.416900430124002</c:v>
                </c:pt>
                <c:pt idx="50">
                  <c:v>32.218224775814001</c:v>
                </c:pt>
                <c:pt idx="51">
                  <c:v>25.649333117337999</c:v>
                </c:pt>
                <c:pt idx="52">
                  <c:v>27.908623083834001</c:v>
                </c:pt>
                <c:pt idx="53">
                  <c:v>23.366252259309999</c:v>
                </c:pt>
                <c:pt idx="54">
                  <c:v>11.007381825435999</c:v>
                </c:pt>
                <c:pt idx="55">
                  <c:v>6.8892823434580004</c:v>
                </c:pt>
                <c:pt idx="56">
                  <c:v>31.295639474232999</c:v>
                </c:pt>
                <c:pt idx="57">
                  <c:v>32.997970975827002</c:v>
                </c:pt>
                <c:pt idx="58">
                  <c:v>24.136927369144999</c:v>
                </c:pt>
                <c:pt idx="59">
                  <c:v>20.824506854134999</c:v>
                </c:pt>
                <c:pt idx="60">
                  <c:v>16.768981758264001</c:v>
                </c:pt>
                <c:pt idx="61">
                  <c:v>9.4910601514180009</c:v>
                </c:pt>
                <c:pt idx="62">
                  <c:v>14.613900742386001</c:v>
                </c:pt>
                <c:pt idx="63">
                  <c:v>8.8704908338260005</c:v>
                </c:pt>
                <c:pt idx="64">
                  <c:v>26.931996708311001</c:v>
                </c:pt>
                <c:pt idx="65">
                  <c:v>30.319798070144</c:v>
                </c:pt>
                <c:pt idx="66">
                  <c:v>24.599867775709999</c:v>
                </c:pt>
                <c:pt idx="67">
                  <c:v>24.255322478423999</c:v>
                </c:pt>
                <c:pt idx="68">
                  <c:v>7.8436294041970003</c:v>
                </c:pt>
                <c:pt idx="69">
                  <c:v>3.9262801636470002</c:v>
                </c:pt>
                <c:pt idx="70">
                  <c:v>11.933364094893999</c:v>
                </c:pt>
                <c:pt idx="71">
                  <c:v>19.356555823499999</c:v>
                </c:pt>
                <c:pt idx="72">
                  <c:v>21.281472023049002</c:v>
                </c:pt>
                <c:pt idx="73">
                  <c:v>15.837556681781001</c:v>
                </c:pt>
                <c:pt idx="74">
                  <c:v>15.930375873026</c:v>
                </c:pt>
                <c:pt idx="75">
                  <c:v>3.366294971596</c:v>
                </c:pt>
                <c:pt idx="76">
                  <c:v>3.375043242741</c:v>
                </c:pt>
                <c:pt idx="77">
                  <c:v>21.137716450216001</c:v>
                </c:pt>
                <c:pt idx="78">
                  <c:v>16.357030940615001</c:v>
                </c:pt>
                <c:pt idx="79">
                  <c:v>20.063505356082999</c:v>
                </c:pt>
                <c:pt idx="80">
                  <c:v>13.289272013679</c:v>
                </c:pt>
                <c:pt idx="81">
                  <c:v>10.817145175102</c:v>
                </c:pt>
                <c:pt idx="82">
                  <c:v>4.5353942164649999</c:v>
                </c:pt>
                <c:pt idx="83">
                  <c:v>0.90974427088499998</c:v>
                </c:pt>
                <c:pt idx="84">
                  <c:v>11.025560925412</c:v>
                </c:pt>
                <c:pt idx="85">
                  <c:v>14.869059346133</c:v>
                </c:pt>
                <c:pt idx="86">
                  <c:v>7.5237468259189999</c:v>
                </c:pt>
                <c:pt idx="87">
                  <c:v>16.164612809979999</c:v>
                </c:pt>
                <c:pt idx="88">
                  <c:v>10.600059745791</c:v>
                </c:pt>
                <c:pt idx="89">
                  <c:v>3.8625324694129999</c:v>
                </c:pt>
                <c:pt idx="90">
                  <c:v>4.8388657698630002</c:v>
                </c:pt>
                <c:pt idx="91">
                  <c:v>10.720307185529</c:v>
                </c:pt>
                <c:pt idx="92">
                  <c:v>10.791931559531999</c:v>
                </c:pt>
                <c:pt idx="93">
                  <c:v>8.8809946714030001</c:v>
                </c:pt>
                <c:pt idx="94">
                  <c:v>4.9657857362769997</c:v>
                </c:pt>
                <c:pt idx="95">
                  <c:v>16.981829442496</c:v>
                </c:pt>
                <c:pt idx="96">
                  <c:v>8.0045626006820001</c:v>
                </c:pt>
                <c:pt idx="97">
                  <c:v>2.0043896132530001</c:v>
                </c:pt>
                <c:pt idx="98">
                  <c:v>9.0477722374129996</c:v>
                </c:pt>
                <c:pt idx="99">
                  <c:v>16.150196830523001</c:v>
                </c:pt>
                <c:pt idx="100">
                  <c:v>5.0729490067159997</c:v>
                </c:pt>
                <c:pt idx="101">
                  <c:v>8.1524508305300003</c:v>
                </c:pt>
                <c:pt idx="102">
                  <c:v>6.141060151684</c:v>
                </c:pt>
                <c:pt idx="103">
                  <c:v>4.096891483586</c:v>
                </c:pt>
                <c:pt idx="104">
                  <c:v>1.0249682259840001</c:v>
                </c:pt>
                <c:pt idx="105">
                  <c:v>3.0822023363089999</c:v>
                </c:pt>
                <c:pt idx="106">
                  <c:v>7.2069103975119999</c:v>
                </c:pt>
                <c:pt idx="107">
                  <c:v>4.1292027541780003</c:v>
                </c:pt>
                <c:pt idx="108">
                  <c:v>4.1422017873600003</c:v>
                </c:pt>
                <c:pt idx="109">
                  <c:v>4.1585661263990001</c:v>
                </c:pt>
                <c:pt idx="110">
                  <c:v>1.040095688803</c:v>
                </c:pt>
                <c:pt idx="111">
                  <c:v>1.0412653456480001</c:v>
                </c:pt>
                <c:pt idx="112">
                  <c:v>1.0435363359350001</c:v>
                </c:pt>
                <c:pt idx="113">
                  <c:v>3.137123675872</c:v>
                </c:pt>
                <c:pt idx="114">
                  <c:v>7.3458422532840002</c:v>
                </c:pt>
                <c:pt idx="115">
                  <c:v>2.106172137448</c:v>
                </c:pt>
                <c:pt idx="116">
                  <c:v>4.2274360600290004</c:v>
                </c:pt>
                <c:pt idx="117">
                  <c:v>0</c:v>
                </c:pt>
                <c:pt idx="118">
                  <c:v>1.0627896101680001</c:v>
                </c:pt>
                <c:pt idx="119">
                  <c:v>4.2675315530609996</c:v>
                </c:pt>
                <c:pt idx="120">
                  <c:v>2.1502139462869998</c:v>
                </c:pt>
                <c:pt idx="121">
                  <c:v>0</c:v>
                </c:pt>
                <c:pt idx="122">
                  <c:v>4.3720625204939996</c:v>
                </c:pt>
                <c:pt idx="123">
                  <c:v>0</c:v>
                </c:pt>
                <c:pt idx="124">
                  <c:v>0</c:v>
                </c:pt>
                <c:pt idx="125">
                  <c:v>1.106317070472</c:v>
                </c:pt>
                <c:pt idx="126">
                  <c:v>0</c:v>
                </c:pt>
                <c:pt idx="127">
                  <c:v>1.122460433269</c:v>
                </c:pt>
                <c:pt idx="128">
                  <c:v>2.2605511223630002</c:v>
                </c:pt>
                <c:pt idx="129">
                  <c:v>1.140771161305</c:v>
                </c:pt>
                <c:pt idx="131">
                  <c:v>1.15672461857</c:v>
                </c:pt>
                <c:pt idx="132">
                  <c:v>1.1599447866279999</c:v>
                </c:pt>
                <c:pt idx="133">
                  <c:v>1.167201634082</c:v>
                </c:pt>
                <c:pt idx="135">
                  <c:v>0</c:v>
                </c:pt>
                <c:pt idx="136">
                  <c:v>2.3845291747139998</c:v>
                </c:pt>
                <c:pt idx="137">
                  <c:v>0</c:v>
                </c:pt>
                <c:pt idx="138">
                  <c:v>0</c:v>
                </c:pt>
                <c:pt idx="139">
                  <c:v>1.208532237597</c:v>
                </c:pt>
                <c:pt idx="141">
                  <c:v>0</c:v>
                </c:pt>
                <c:pt idx="142">
                  <c:v>2.4605088332260001</c:v>
                </c:pt>
                <c:pt idx="143">
                  <c:v>2.4775779198249999</c:v>
                </c:pt>
                <c:pt idx="145">
                  <c:v>1.253478402567</c:v>
                </c:pt>
                <c:pt idx="146">
                  <c:v>1.2554297335969999</c:v>
                </c:pt>
                <c:pt idx="147">
                  <c:v>0</c:v>
                </c:pt>
                <c:pt idx="148">
                  <c:v>3.8126223216319999</c:v>
                </c:pt>
                <c:pt idx="150">
                  <c:v>1.2888757137139999</c:v>
                </c:pt>
                <c:pt idx="151">
                  <c:v>1.2987687672079999</c:v>
                </c:pt>
                <c:pt idx="153">
                  <c:v>1.3046825055119999</c:v>
                </c:pt>
                <c:pt idx="154">
                  <c:v>0</c:v>
                </c:pt>
                <c:pt idx="155">
                  <c:v>1.320934164641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534913308880001</c:v>
                </c:pt>
                <c:pt idx="160">
                  <c:v>0</c:v>
                </c:pt>
                <c:pt idx="161">
                  <c:v>2.7282524179130001</c:v>
                </c:pt>
                <c:pt idx="162">
                  <c:v>4.120822516174</c:v>
                </c:pt>
                <c:pt idx="163">
                  <c:v>1.3838532008519999</c:v>
                </c:pt>
                <c:pt idx="164">
                  <c:v>4.1850343172809996</c:v>
                </c:pt>
                <c:pt idx="165">
                  <c:v>2.8112788507489999</c:v>
                </c:pt>
                <c:pt idx="166">
                  <c:v>1.4086887924710001</c:v>
                </c:pt>
                <c:pt idx="167">
                  <c:v>2.821192800315</c:v>
                </c:pt>
                <c:pt idx="168">
                  <c:v>2.82481885849</c:v>
                </c:pt>
                <c:pt idx="169">
                  <c:v>2.8292144686020002</c:v>
                </c:pt>
                <c:pt idx="170">
                  <c:v>5.6966261731480001</c:v>
                </c:pt>
                <c:pt idx="171">
                  <c:v>2.8654116163780001</c:v>
                </c:pt>
                <c:pt idx="172">
                  <c:v>1.441877901779</c:v>
                </c:pt>
                <c:pt idx="173">
                  <c:v>0</c:v>
                </c:pt>
                <c:pt idx="174">
                  <c:v>1.4476179446719999</c:v>
                </c:pt>
                <c:pt idx="175">
                  <c:v>4.3684018929740001</c:v>
                </c:pt>
                <c:pt idx="176">
                  <c:v>1.4641502803840001</c:v>
                </c:pt>
                <c:pt idx="177">
                  <c:v>0</c:v>
                </c:pt>
                <c:pt idx="178">
                  <c:v>5.9348061543929997</c:v>
                </c:pt>
                <c:pt idx="179">
                  <c:v>2.9878394932619998</c:v>
                </c:pt>
                <c:pt idx="180">
                  <c:v>1.4967819188739999</c:v>
                </c:pt>
                <c:pt idx="181">
                  <c:v>0</c:v>
                </c:pt>
                <c:pt idx="182">
                  <c:v>0</c:v>
                </c:pt>
                <c:pt idx="183">
                  <c:v>3.0435378083479998</c:v>
                </c:pt>
                <c:pt idx="184">
                  <c:v>7.6634224844809999</c:v>
                </c:pt>
                <c:pt idx="185">
                  <c:v>0</c:v>
                </c:pt>
                <c:pt idx="186">
                  <c:v>4.6611354525959996</c:v>
                </c:pt>
                <c:pt idx="187">
                  <c:v>1.558554907889</c:v>
                </c:pt>
                <c:pt idx="188">
                  <c:v>0</c:v>
                </c:pt>
                <c:pt idx="189">
                  <c:v>12.559066861331999</c:v>
                </c:pt>
                <c:pt idx="190">
                  <c:v>1.579404564479</c:v>
                </c:pt>
                <c:pt idx="191">
                  <c:v>4.7679593134129998</c:v>
                </c:pt>
                <c:pt idx="192">
                  <c:v>3.1953986259780001</c:v>
                </c:pt>
                <c:pt idx="193">
                  <c:v>9.6390187478910008</c:v>
                </c:pt>
                <c:pt idx="194">
                  <c:v>4.8300623078029998</c:v>
                </c:pt>
                <c:pt idx="195">
                  <c:v>1.6130333091369999</c:v>
                </c:pt>
                <c:pt idx="196">
                  <c:v>4.8607398045980004</c:v>
                </c:pt>
                <c:pt idx="197">
                  <c:v>3.2566394737270001</c:v>
                </c:pt>
                <c:pt idx="198">
                  <c:v>4.9112697269329999</c:v>
                </c:pt>
                <c:pt idx="199">
                  <c:v>0</c:v>
                </c:pt>
                <c:pt idx="200">
                  <c:v>3.3106553442250002</c:v>
                </c:pt>
                <c:pt idx="201">
                  <c:v>0</c:v>
                </c:pt>
                <c:pt idx="202">
                  <c:v>0</c:v>
                </c:pt>
                <c:pt idx="203">
                  <c:v>3.3458803847760001</c:v>
                </c:pt>
                <c:pt idx="204">
                  <c:v>3.3633229630870001</c:v>
                </c:pt>
                <c:pt idx="205">
                  <c:v>3.3842665448329998</c:v>
                </c:pt>
                <c:pt idx="206">
                  <c:v>5.1037767948279997</c:v>
                </c:pt>
                <c:pt idx="207">
                  <c:v>1.712123546835</c:v>
                </c:pt>
                <c:pt idx="208">
                  <c:v>0</c:v>
                </c:pt>
                <c:pt idx="209">
                  <c:v>3.434714661079</c:v>
                </c:pt>
                <c:pt idx="210">
                  <c:v>0</c:v>
                </c:pt>
                <c:pt idx="211">
                  <c:v>1.7349364145799999</c:v>
                </c:pt>
                <c:pt idx="212">
                  <c:v>3.488392374374</c:v>
                </c:pt>
                <c:pt idx="213">
                  <c:v>14.026474971508</c:v>
                </c:pt>
                <c:pt idx="214">
                  <c:v>7.0604017368580001</c:v>
                </c:pt>
                <c:pt idx="215">
                  <c:v>8.8357955750329999</c:v>
                </c:pt>
                <c:pt idx="216">
                  <c:v>1.768753205865</c:v>
                </c:pt>
                <c:pt idx="217">
                  <c:v>7.1107318720770003</c:v>
                </c:pt>
                <c:pt idx="218">
                  <c:v>8.9292092292300005</c:v>
                </c:pt>
                <c:pt idx="219">
                  <c:v>1.793335963559</c:v>
                </c:pt>
                <c:pt idx="220">
                  <c:v>5.4011234336739999</c:v>
                </c:pt>
                <c:pt idx="221">
                  <c:v>1.808089391939</c:v>
                </c:pt>
                <c:pt idx="222">
                  <c:v>1.8093325372269999</c:v>
                </c:pt>
                <c:pt idx="223">
                  <c:v>3.6210892236380001</c:v>
                </c:pt>
                <c:pt idx="224">
                  <c:v>1.8150467374529999</c:v>
                </c:pt>
                <c:pt idx="225">
                  <c:v>7.280139778683</c:v>
                </c:pt>
                <c:pt idx="226">
                  <c:v>5.4708585600699999</c:v>
                </c:pt>
                <c:pt idx="227">
                  <c:v>9.1384289212990009</c:v>
                </c:pt>
                <c:pt idx="228">
                  <c:v>12.823096228177</c:v>
                </c:pt>
                <c:pt idx="229">
                  <c:v>3.664413052639</c:v>
                </c:pt>
                <c:pt idx="230">
                  <c:v>7.3281547706280001</c:v>
                </c:pt>
                <c:pt idx="231">
                  <c:v>14.685905202481001</c:v>
                </c:pt>
                <c:pt idx="232">
                  <c:v>14.707774897505001</c:v>
                </c:pt>
                <c:pt idx="233">
                  <c:v>12.888733405755</c:v>
                </c:pt>
                <c:pt idx="234">
                  <c:v>9.2203289813379996</c:v>
                </c:pt>
                <c:pt idx="235">
                  <c:v>11.087498845052</c:v>
                </c:pt>
                <c:pt idx="236">
                  <c:v>9.2394116342670003</c:v>
                </c:pt>
                <c:pt idx="237">
                  <c:v>9.2387287509230003</c:v>
                </c:pt>
                <c:pt idx="238">
                  <c:v>7.3995967219779999</c:v>
                </c:pt>
                <c:pt idx="239">
                  <c:v>12.969447686805999</c:v>
                </c:pt>
                <c:pt idx="240">
                  <c:v>22.263450834878999</c:v>
                </c:pt>
                <c:pt idx="241">
                  <c:v>35.305485357514002</c:v>
                </c:pt>
                <c:pt idx="242">
                  <c:v>29.794048638783998</c:v>
                </c:pt>
                <c:pt idx="243">
                  <c:v>13.039995529144001</c:v>
                </c:pt>
                <c:pt idx="244">
                  <c:v>9.3174067793449993</c:v>
                </c:pt>
                <c:pt idx="245">
                  <c:v>18.670998338280999</c:v>
                </c:pt>
                <c:pt idx="246">
                  <c:v>24.309516240625999</c:v>
                </c:pt>
                <c:pt idx="247">
                  <c:v>20.598093740052001</c:v>
                </c:pt>
                <c:pt idx="248">
                  <c:v>13.132715470338001</c:v>
                </c:pt>
                <c:pt idx="249">
                  <c:v>16.925246826515998</c:v>
                </c:pt>
                <c:pt idx="250">
                  <c:v>7.5257285845980002</c:v>
                </c:pt>
                <c:pt idx="251">
                  <c:v>9.4105247308580005</c:v>
                </c:pt>
                <c:pt idx="252">
                  <c:v>33.930894079058</c:v>
                </c:pt>
                <c:pt idx="253">
                  <c:v>49.018683659810002</c:v>
                </c:pt>
                <c:pt idx="254">
                  <c:v>30.227461648908001</c:v>
                </c:pt>
                <c:pt idx="255">
                  <c:v>45.408964486404997</c:v>
                </c:pt>
                <c:pt idx="256">
                  <c:v>22.741486156120001</c:v>
                </c:pt>
                <c:pt idx="257">
                  <c:v>15.166164287474</c:v>
                </c:pt>
                <c:pt idx="258">
                  <c:v>20.85822098337</c:v>
                </c:pt>
                <c:pt idx="259">
                  <c:v>94.945121719645996</c:v>
                </c:pt>
                <c:pt idx="260">
                  <c:v>79.872204472842995</c:v>
                </c:pt>
                <c:pt idx="261">
                  <c:v>76.165812974846006</c:v>
                </c:pt>
                <c:pt idx="262">
                  <c:v>102.961084523423</c:v>
                </c:pt>
                <c:pt idx="263">
                  <c:v>84.052876900740998</c:v>
                </c:pt>
                <c:pt idx="264">
                  <c:v>53.506592776608997</c:v>
                </c:pt>
                <c:pt idx="265">
                  <c:v>34.403012174842999</c:v>
                </c:pt>
                <c:pt idx="266">
                  <c:v>105.27927720990699</c:v>
                </c:pt>
                <c:pt idx="267">
                  <c:v>136.072674307179</c:v>
                </c:pt>
                <c:pt idx="268">
                  <c:v>143.89593446019799</c:v>
                </c:pt>
                <c:pt idx="269">
                  <c:v>80.700945353931004</c:v>
                </c:pt>
                <c:pt idx="270">
                  <c:v>157.892709978049</c:v>
                </c:pt>
                <c:pt idx="271">
                  <c:v>121.35922330097</c:v>
                </c:pt>
                <c:pt idx="272">
                  <c:v>59.729099631990998</c:v>
                </c:pt>
                <c:pt idx="273">
                  <c:v>198.69593734326099</c:v>
                </c:pt>
                <c:pt idx="274">
                  <c:v>225.864365552788</c:v>
                </c:pt>
                <c:pt idx="275">
                  <c:v>210.717599752551</c:v>
                </c:pt>
                <c:pt idx="276">
                  <c:v>174.32063375234799</c:v>
                </c:pt>
                <c:pt idx="277">
                  <c:v>201.961355471404</c:v>
                </c:pt>
                <c:pt idx="278">
                  <c:v>106.881206397326</c:v>
                </c:pt>
                <c:pt idx="279">
                  <c:v>42.778253091701004</c:v>
                </c:pt>
                <c:pt idx="280">
                  <c:v>216.21832206790401</c:v>
                </c:pt>
                <c:pt idx="281">
                  <c:v>222.66929702912199</c:v>
                </c:pt>
                <c:pt idx="282">
                  <c:v>246.874877542223</c:v>
                </c:pt>
                <c:pt idx="283">
                  <c:v>200.00784344484001</c:v>
                </c:pt>
                <c:pt idx="284">
                  <c:v>294.92145258646099</c:v>
                </c:pt>
                <c:pt idx="285">
                  <c:v>155.48732483073499</c:v>
                </c:pt>
                <c:pt idx="286">
                  <c:v>80.757942839134003</c:v>
                </c:pt>
                <c:pt idx="287">
                  <c:v>304.22757803239801</c:v>
                </c:pt>
                <c:pt idx="288">
                  <c:v>366.45273750099</c:v>
                </c:pt>
                <c:pt idx="289">
                  <c:v>244.30452658549601</c:v>
                </c:pt>
                <c:pt idx="290">
                  <c:v>292.94539657233901</c:v>
                </c:pt>
                <c:pt idx="291">
                  <c:v>534.38475702505798</c:v>
                </c:pt>
                <c:pt idx="292">
                  <c:v>264.50785508175602</c:v>
                </c:pt>
                <c:pt idx="293">
                  <c:v>140.37902336307999</c:v>
                </c:pt>
                <c:pt idx="294">
                  <c:v>333.94355146955201</c:v>
                </c:pt>
                <c:pt idx="295">
                  <c:v>435.51899346721501</c:v>
                </c:pt>
                <c:pt idx="296">
                  <c:v>289.14006106314503</c:v>
                </c:pt>
                <c:pt idx="297">
                  <c:v>438.20498255294899</c:v>
                </c:pt>
                <c:pt idx="298">
                  <c:v>277.21722823539</c:v>
                </c:pt>
                <c:pt idx="299">
                  <c:v>177.56551555228901</c:v>
                </c:pt>
                <c:pt idx="300">
                  <c:v>116.447731312182</c:v>
                </c:pt>
                <c:pt idx="301">
                  <c:v>359.033277255754</c:v>
                </c:pt>
                <c:pt idx="302">
                  <c:v>346.34176510606699</c:v>
                </c:pt>
                <c:pt idx="303">
                  <c:v>317.89938690832503</c:v>
                </c:pt>
                <c:pt idx="304">
                  <c:v>248.843912655786</c:v>
                </c:pt>
                <c:pt idx="305">
                  <c:v>262.97115665567401</c:v>
                </c:pt>
                <c:pt idx="306">
                  <c:v>152.591973244147</c:v>
                </c:pt>
                <c:pt idx="307">
                  <c:v>92.081031307550006</c:v>
                </c:pt>
                <c:pt idx="308">
                  <c:v>290.31850885681803</c:v>
                </c:pt>
                <c:pt idx="309">
                  <c:v>289.65283944352802</c:v>
                </c:pt>
                <c:pt idx="310">
                  <c:v>233.89325962151801</c:v>
                </c:pt>
                <c:pt idx="311">
                  <c:v>205.40910647038601</c:v>
                </c:pt>
                <c:pt idx="312">
                  <c:v>196.13759806879901</c:v>
                </c:pt>
                <c:pt idx="313">
                  <c:v>129.53367875647601</c:v>
                </c:pt>
                <c:pt idx="314">
                  <c:v>84.284232365145002</c:v>
                </c:pt>
                <c:pt idx="315">
                  <c:v>204.001909805113</c:v>
                </c:pt>
                <c:pt idx="316">
                  <c:v>289.89297935874799</c:v>
                </c:pt>
                <c:pt idx="317">
                  <c:v>177.359316838186</c:v>
                </c:pt>
                <c:pt idx="318">
                  <c:v>156.20874768986999</c:v>
                </c:pt>
                <c:pt idx="319">
                  <c:v>165.99530786596401</c:v>
                </c:pt>
                <c:pt idx="320">
                  <c:v>101.98425895133499</c:v>
                </c:pt>
                <c:pt idx="321">
                  <c:v>66.583806818181003</c:v>
                </c:pt>
                <c:pt idx="322">
                  <c:v>176.17019378721301</c:v>
                </c:pt>
                <c:pt idx="323">
                  <c:v>177.062554631642</c:v>
                </c:pt>
                <c:pt idx="324">
                  <c:v>105.617977528089</c:v>
                </c:pt>
                <c:pt idx="325">
                  <c:v>130.99351807936401</c:v>
                </c:pt>
                <c:pt idx="326">
                  <c:v>36.405005688282003</c:v>
                </c:pt>
                <c:pt idx="327">
                  <c:v>43.323604523896002</c:v>
                </c:pt>
                <c:pt idx="328">
                  <c:v>34.253613756250999</c:v>
                </c:pt>
                <c:pt idx="329">
                  <c:v>96.354584872329994</c:v>
                </c:pt>
                <c:pt idx="330">
                  <c:v>186.73921062338599</c:v>
                </c:pt>
                <c:pt idx="331">
                  <c:v>169.189051382483</c:v>
                </c:pt>
                <c:pt idx="332">
                  <c:v>100.25413256860401</c:v>
                </c:pt>
                <c:pt idx="333">
                  <c:v>140.94101618472601</c:v>
                </c:pt>
                <c:pt idx="334">
                  <c:v>16.504373659018999</c:v>
                </c:pt>
                <c:pt idx="335">
                  <c:v>49.633656346016998</c:v>
                </c:pt>
                <c:pt idx="336">
                  <c:v>114.17697431018</c:v>
                </c:pt>
                <c:pt idx="337">
                  <c:v>122.09135305946501</c:v>
                </c:pt>
                <c:pt idx="338">
                  <c:v>118.04953262021699</c:v>
                </c:pt>
                <c:pt idx="339">
                  <c:v>130.586186883343</c:v>
                </c:pt>
                <c:pt idx="340">
                  <c:v>87.224093232864007</c:v>
                </c:pt>
                <c:pt idx="341">
                  <c:v>50.979535357948997</c:v>
                </c:pt>
                <c:pt idx="342">
                  <c:v>34.053317766101998</c:v>
                </c:pt>
                <c:pt idx="343">
                  <c:v>105.121623273438</c:v>
                </c:pt>
                <c:pt idx="344">
                  <c:v>159.75618748003001</c:v>
                </c:pt>
                <c:pt idx="345">
                  <c:v>133.40250500259299</c:v>
                </c:pt>
                <c:pt idx="346">
                  <c:v>138.87855566302099</c:v>
                </c:pt>
                <c:pt idx="347">
                  <c:v>188.97951064252999</c:v>
                </c:pt>
                <c:pt idx="348">
                  <c:v>122.084911301574</c:v>
                </c:pt>
                <c:pt idx="349">
                  <c:v>102.37459112587</c:v>
                </c:pt>
                <c:pt idx="350">
                  <c:v>268.64172734120001</c:v>
                </c:pt>
                <c:pt idx="351">
                  <c:v>345.688980848325</c:v>
                </c:pt>
                <c:pt idx="352">
                  <c:v>403.12357385528099</c:v>
                </c:pt>
                <c:pt idx="353">
                  <c:v>420.45715159391398</c:v>
                </c:pt>
                <c:pt idx="354">
                  <c:v>361.72396100564299</c:v>
                </c:pt>
                <c:pt idx="355">
                  <c:v>226.41315254586101</c:v>
                </c:pt>
                <c:pt idx="356">
                  <c:v>214.00577557755699</c:v>
                </c:pt>
                <c:pt idx="357">
                  <c:v>460.936893078178</c:v>
                </c:pt>
                <c:pt idx="358">
                  <c:v>457.58261186074901</c:v>
                </c:pt>
                <c:pt idx="359">
                  <c:v>584.84112686352796</c:v>
                </c:pt>
                <c:pt idx="360">
                  <c:v>1145.2082077622499</c:v>
                </c:pt>
                <c:pt idx="361">
                  <c:v>820.96621408272802</c:v>
                </c:pt>
                <c:pt idx="362">
                  <c:v>311.247098543996</c:v>
                </c:pt>
                <c:pt idx="363">
                  <c:v>333.06018873410602</c:v>
                </c:pt>
                <c:pt idx="364">
                  <c:v>792.78801537849597</c:v>
                </c:pt>
                <c:pt idx="365">
                  <c:v>971.82762008443694</c:v>
                </c:pt>
                <c:pt idx="366">
                  <c:v>816.44593372692896</c:v>
                </c:pt>
                <c:pt idx="367">
                  <c:v>796.37768011719197</c:v>
                </c:pt>
                <c:pt idx="368">
                  <c:v>664.3011498546</c:v>
                </c:pt>
                <c:pt idx="369">
                  <c:v>389.68664922863297</c:v>
                </c:pt>
                <c:pt idx="370">
                  <c:v>154.88143559068499</c:v>
                </c:pt>
                <c:pt idx="371">
                  <c:v>713.92283216128703</c:v>
                </c:pt>
                <c:pt idx="372">
                  <c:v>805.93338331369796</c:v>
                </c:pt>
                <c:pt idx="373">
                  <c:v>625.16769519720901</c:v>
                </c:pt>
                <c:pt idx="374">
                  <c:v>548.32813675948796</c:v>
                </c:pt>
                <c:pt idx="375">
                  <c:v>493.24816042694198</c:v>
                </c:pt>
                <c:pt idx="376">
                  <c:v>183.402109124254</c:v>
                </c:pt>
                <c:pt idx="377">
                  <c:v>99.851571987585999</c:v>
                </c:pt>
                <c:pt idx="378">
                  <c:v>467.66868512110699</c:v>
                </c:pt>
                <c:pt idx="379">
                  <c:v>647.11775377033996</c:v>
                </c:pt>
                <c:pt idx="380">
                  <c:v>442.29777765717802</c:v>
                </c:pt>
                <c:pt idx="381">
                  <c:v>331.52173913043401</c:v>
                </c:pt>
                <c:pt idx="382">
                  <c:v>313.25760671188402</c:v>
                </c:pt>
                <c:pt idx="383">
                  <c:v>144.47321793648601</c:v>
                </c:pt>
                <c:pt idx="384">
                  <c:v>87.279074841805993</c:v>
                </c:pt>
                <c:pt idx="385">
                  <c:v>344.25288926531999</c:v>
                </c:pt>
                <c:pt idx="386">
                  <c:v>358.52103232162801</c:v>
                </c:pt>
                <c:pt idx="387">
                  <c:v>208.27053246005801</c:v>
                </c:pt>
                <c:pt idx="388">
                  <c:v>222.27100598210799</c:v>
                </c:pt>
                <c:pt idx="389">
                  <c:v>211.74788252117401</c:v>
                </c:pt>
                <c:pt idx="390">
                  <c:v>99.056214401671994</c:v>
                </c:pt>
                <c:pt idx="391">
                  <c:v>57.814607824242998</c:v>
                </c:pt>
                <c:pt idx="392">
                  <c:v>275.58838119384802</c:v>
                </c:pt>
                <c:pt idx="393">
                  <c:v>309.02519107137903</c:v>
                </c:pt>
                <c:pt idx="394">
                  <c:v>218.22601585591499</c:v>
                </c:pt>
                <c:pt idx="395">
                  <c:v>179.77155184334899</c:v>
                </c:pt>
                <c:pt idx="396">
                  <c:v>163.421322327784</c:v>
                </c:pt>
                <c:pt idx="397">
                  <c:v>80.356895452908006</c:v>
                </c:pt>
                <c:pt idx="398">
                  <c:v>69.292386152608998</c:v>
                </c:pt>
                <c:pt idx="399">
                  <c:v>288.48821081830698</c:v>
                </c:pt>
                <c:pt idx="400">
                  <c:v>213.740458015267</c:v>
                </c:pt>
                <c:pt idx="401">
                  <c:v>186.09043439617801</c:v>
                </c:pt>
                <c:pt idx="402">
                  <c:v>150.10423905489901</c:v>
                </c:pt>
                <c:pt idx="403">
                  <c:v>144.69766535882201</c:v>
                </c:pt>
                <c:pt idx="404">
                  <c:v>102.980878955718</c:v>
                </c:pt>
                <c:pt idx="405">
                  <c:v>52.893850393919003</c:v>
                </c:pt>
                <c:pt idx="406">
                  <c:v>239.534300754811</c:v>
                </c:pt>
                <c:pt idx="407">
                  <c:v>172.74525647098099</c:v>
                </c:pt>
                <c:pt idx="408">
                  <c:v>217.42766348887699</c:v>
                </c:pt>
                <c:pt idx="409">
                  <c:v>170.12968902524</c:v>
                </c:pt>
                <c:pt idx="410">
                  <c:v>153.51122027464501</c:v>
                </c:pt>
                <c:pt idx="411">
                  <c:v>80.964877994304004</c:v>
                </c:pt>
                <c:pt idx="412">
                  <c:v>25.131942699170001</c:v>
                </c:pt>
                <c:pt idx="413">
                  <c:v>231.85652829767</c:v>
                </c:pt>
                <c:pt idx="414">
                  <c:v>167.658646994718</c:v>
                </c:pt>
                <c:pt idx="415">
                  <c:v>153.730050032143</c:v>
                </c:pt>
                <c:pt idx="416">
                  <c:v>128.63174967142899</c:v>
                </c:pt>
                <c:pt idx="417">
                  <c:v>148.2766338406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9</c:f>
              <c:numCache>
                <c:formatCode>m/d/yyyy</c:formatCode>
                <c:ptCount val="41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  <c:pt idx="411">
                  <c:v>44639</c:v>
                </c:pt>
                <c:pt idx="412">
                  <c:v>44640</c:v>
                </c:pt>
                <c:pt idx="413">
                  <c:v>44641</c:v>
                </c:pt>
                <c:pt idx="414">
                  <c:v>44642</c:v>
                </c:pt>
                <c:pt idx="415">
                  <c:v>44643</c:v>
                </c:pt>
                <c:pt idx="416">
                  <c:v>44644</c:v>
                </c:pt>
                <c:pt idx="417">
                  <c:v>44645</c:v>
                </c:pt>
              </c:numCache>
            </c:numRef>
          </c:cat>
          <c:val>
            <c:numRef>
              <c:f>List1!$C$2:$C$419</c:f>
              <c:numCache>
                <c:formatCode>General</c:formatCode>
                <c:ptCount val="4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0897620985380003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4.9075940928920003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5775203613989994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666166981685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0.81140511022899997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623976387383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4611534920690001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756419109998</c:v>
                </c:pt>
                <c:pt idx="234">
                  <c:v>3.2579657262000001</c:v>
                </c:pt>
                <c:pt idx="235">
                  <c:v>2.8537649313050002</c:v>
                </c:pt>
                <c:pt idx="236">
                  <c:v>1.630882388916</c:v>
                </c:pt>
                <c:pt idx="237">
                  <c:v>1.631068594589</c:v>
                </c:pt>
                <c:pt idx="238">
                  <c:v>4.9025615884290001</c:v>
                </c:pt>
                <c:pt idx="239">
                  <c:v>4.0856682927619996</c:v>
                </c:pt>
                <c:pt idx="240">
                  <c:v>4.0979575779430002</c:v>
                </c:pt>
                <c:pt idx="241">
                  <c:v>7.3985170083679996</c:v>
                </c:pt>
                <c:pt idx="242">
                  <c:v>1.653664727744</c:v>
                </c:pt>
                <c:pt idx="243">
                  <c:v>2.8946432558940001</c:v>
                </c:pt>
                <c:pt idx="244">
                  <c:v>4.1359571845709997</c:v>
                </c:pt>
                <c:pt idx="245">
                  <c:v>4.153134370509</c:v>
                </c:pt>
                <c:pt idx="246">
                  <c:v>5.0069262479759997</c:v>
                </c:pt>
                <c:pt idx="247">
                  <c:v>5.4564533053510003</c:v>
                </c:pt>
                <c:pt idx="248">
                  <c:v>8.0169452906770005</c:v>
                </c:pt>
                <c:pt idx="249">
                  <c:v>6.8223003944140004</c:v>
                </c:pt>
                <c:pt idx="250">
                  <c:v>2.5609615556979999</c:v>
                </c:pt>
                <c:pt idx="251">
                  <c:v>2.1350276913089998</c:v>
                </c:pt>
                <c:pt idx="252">
                  <c:v>9.4423842878720006</c:v>
                </c:pt>
                <c:pt idx="253">
                  <c:v>14.246244171991</c:v>
                </c:pt>
                <c:pt idx="254">
                  <c:v>13.900170711471</c:v>
                </c:pt>
                <c:pt idx="255">
                  <c:v>10.062342775894001</c:v>
                </c:pt>
                <c:pt idx="256">
                  <c:v>11.0442077548</c:v>
                </c:pt>
                <c:pt idx="257">
                  <c:v>6.1938680706099998</c:v>
                </c:pt>
                <c:pt idx="258">
                  <c:v>7.5266198835580003</c:v>
                </c:pt>
                <c:pt idx="259">
                  <c:v>17.819197512439999</c:v>
                </c:pt>
                <c:pt idx="260">
                  <c:v>25.113233777299001</c:v>
                </c:pt>
                <c:pt idx="261">
                  <c:v>19.898157611496998</c:v>
                </c:pt>
                <c:pt idx="262">
                  <c:v>29.238430261775001</c:v>
                </c:pt>
                <c:pt idx="263">
                  <c:v>25.478651206529001</c:v>
                </c:pt>
                <c:pt idx="264">
                  <c:v>20.426448536955</c:v>
                </c:pt>
                <c:pt idx="265">
                  <c:v>12.085715613813999</c:v>
                </c:pt>
                <c:pt idx="266">
                  <c:v>50.181262222889004</c:v>
                </c:pt>
                <c:pt idx="267">
                  <c:v>45.926725566507997</c:v>
                </c:pt>
                <c:pt idx="268">
                  <c:v>37.476397076841003</c:v>
                </c:pt>
                <c:pt idx="269">
                  <c:v>24.066577780772</c:v>
                </c:pt>
                <c:pt idx="270">
                  <c:v>50.084608951043002</c:v>
                </c:pt>
                <c:pt idx="271">
                  <c:v>33.120969470258999</c:v>
                </c:pt>
                <c:pt idx="272">
                  <c:v>28.294753274628999</c:v>
                </c:pt>
                <c:pt idx="273">
                  <c:v>85.089220720453994</c:v>
                </c:pt>
                <c:pt idx="274">
                  <c:v>70.016535820160996</c:v>
                </c:pt>
                <c:pt idx="275">
                  <c:v>66.297343585983</c:v>
                </c:pt>
                <c:pt idx="276">
                  <c:v>70.339259500897001</c:v>
                </c:pt>
                <c:pt idx="277">
                  <c:v>84.179895554574003</c:v>
                </c:pt>
                <c:pt idx="278">
                  <c:v>47.941386444050998</c:v>
                </c:pt>
                <c:pt idx="279">
                  <c:v>29.228472707912999</c:v>
                </c:pt>
                <c:pt idx="280">
                  <c:v>95.312820890885007</c:v>
                </c:pt>
                <c:pt idx="281">
                  <c:v>101.562250747094</c:v>
                </c:pt>
                <c:pt idx="282">
                  <c:v>108.117993846418</c:v>
                </c:pt>
                <c:pt idx="283">
                  <c:v>73.982603208450996</c:v>
                </c:pt>
                <c:pt idx="284">
                  <c:v>103.092212103912</c:v>
                </c:pt>
                <c:pt idx="285">
                  <c:v>77.764385022579006</c:v>
                </c:pt>
                <c:pt idx="286">
                  <c:v>43.386361108019997</c:v>
                </c:pt>
                <c:pt idx="287">
                  <c:v>105.46807066360699</c:v>
                </c:pt>
                <c:pt idx="288">
                  <c:v>138.17416768544001</c:v>
                </c:pt>
                <c:pt idx="289">
                  <c:v>90.597258150903997</c:v>
                </c:pt>
                <c:pt idx="290">
                  <c:v>120.360505629301</c:v>
                </c:pt>
                <c:pt idx="291">
                  <c:v>144.01714155245699</c:v>
                </c:pt>
                <c:pt idx="292">
                  <c:v>94.538493608375006</c:v>
                </c:pt>
                <c:pt idx="293">
                  <c:v>65.265324121711004</c:v>
                </c:pt>
                <c:pt idx="294">
                  <c:v>142.38168971470199</c:v>
                </c:pt>
                <c:pt idx="295">
                  <c:v>161.34643298424899</c:v>
                </c:pt>
                <c:pt idx="296">
                  <c:v>112.762126475456</c:v>
                </c:pt>
                <c:pt idx="297">
                  <c:v>163.18317618261699</c:v>
                </c:pt>
                <c:pt idx="298">
                  <c:v>128.421171326371</c:v>
                </c:pt>
                <c:pt idx="299">
                  <c:v>87.999396575565996</c:v>
                </c:pt>
                <c:pt idx="300">
                  <c:v>71.858099164175997</c:v>
                </c:pt>
                <c:pt idx="301">
                  <c:v>151.57497866486599</c:v>
                </c:pt>
                <c:pt idx="302">
                  <c:v>121.720313767919</c:v>
                </c:pt>
                <c:pt idx="303">
                  <c:v>123.069309509546</c:v>
                </c:pt>
                <c:pt idx="304">
                  <c:v>98.340098340097995</c:v>
                </c:pt>
                <c:pt idx="305">
                  <c:v>121.049001176677</c:v>
                </c:pt>
                <c:pt idx="306">
                  <c:v>71.275837491090002</c:v>
                </c:pt>
                <c:pt idx="307">
                  <c:v>51.716863780502003</c:v>
                </c:pt>
                <c:pt idx="308">
                  <c:v>140.977766774635</c:v>
                </c:pt>
                <c:pt idx="309">
                  <c:v>121.085594989561</c:v>
                </c:pt>
                <c:pt idx="310">
                  <c:v>97.313992764915994</c:v>
                </c:pt>
                <c:pt idx="311">
                  <c:v>90.779776839004995</c:v>
                </c:pt>
                <c:pt idx="312">
                  <c:v>85.486322188448995</c:v>
                </c:pt>
                <c:pt idx="313">
                  <c:v>65.334527462523994</c:v>
                </c:pt>
                <c:pt idx="314">
                  <c:v>56.690177138396997</c:v>
                </c:pt>
                <c:pt idx="315">
                  <c:v>79.551537500742995</c:v>
                </c:pt>
                <c:pt idx="316">
                  <c:v>105.17617008489199</c:v>
                </c:pt>
                <c:pt idx="317">
                  <c:v>60.028570560165001</c:v>
                </c:pt>
                <c:pt idx="318">
                  <c:v>55.448167515073997</c:v>
                </c:pt>
                <c:pt idx="319">
                  <c:v>61.955439138583998</c:v>
                </c:pt>
                <c:pt idx="320">
                  <c:v>44.864932938731002</c:v>
                </c:pt>
                <c:pt idx="321">
                  <c:v>32.358883697435999</c:v>
                </c:pt>
                <c:pt idx="322">
                  <c:v>80.525568861319996</c:v>
                </c:pt>
                <c:pt idx="323">
                  <c:v>76.507397057283001</c:v>
                </c:pt>
                <c:pt idx="324">
                  <c:v>39.812151643672998</c:v>
                </c:pt>
                <c:pt idx="325">
                  <c:v>62.793068297654997</c:v>
                </c:pt>
                <c:pt idx="326">
                  <c:v>20.391184483124</c:v>
                </c:pt>
                <c:pt idx="327">
                  <c:v>13.868041506232</c:v>
                </c:pt>
                <c:pt idx="328">
                  <c:v>19.584162940235</c:v>
                </c:pt>
                <c:pt idx="329">
                  <c:v>70.720194727232993</c:v>
                </c:pt>
                <c:pt idx="330">
                  <c:v>78.784561543181994</c:v>
                </c:pt>
                <c:pt idx="331">
                  <c:v>33.480087717829001</c:v>
                </c:pt>
                <c:pt idx="332">
                  <c:v>59.890341628004997</c:v>
                </c:pt>
                <c:pt idx="333">
                  <c:v>48.169556840077</c:v>
                </c:pt>
                <c:pt idx="334">
                  <c:v>14.376929257051</c:v>
                </c:pt>
                <c:pt idx="335">
                  <c:v>29.660765586732001</c:v>
                </c:pt>
                <c:pt idx="336">
                  <c:v>93.222948239882001</c:v>
                </c:pt>
                <c:pt idx="337">
                  <c:v>76.120616576993996</c:v>
                </c:pt>
                <c:pt idx="338">
                  <c:v>54.268858428302998</c:v>
                </c:pt>
                <c:pt idx="339">
                  <c:v>48.816856904478001</c:v>
                </c:pt>
                <c:pt idx="340">
                  <c:v>57.235784175668002</c:v>
                </c:pt>
                <c:pt idx="341">
                  <c:v>33.763436935374003</c:v>
                </c:pt>
                <c:pt idx="342">
                  <c:v>21.044348677407999</c:v>
                </c:pt>
                <c:pt idx="343">
                  <c:v>54.500946838483003</c:v>
                </c:pt>
                <c:pt idx="344">
                  <c:v>92.408501582145007</c:v>
                </c:pt>
                <c:pt idx="345">
                  <c:v>113.35083974080401</c:v>
                </c:pt>
                <c:pt idx="346">
                  <c:v>87.890251824678003</c:v>
                </c:pt>
                <c:pt idx="347">
                  <c:v>87.371854613232998</c:v>
                </c:pt>
                <c:pt idx="348">
                  <c:v>82.832279251974995</c:v>
                </c:pt>
                <c:pt idx="349">
                  <c:v>55.674392709583998</c:v>
                </c:pt>
                <c:pt idx="350">
                  <c:v>191.82906554651601</c:v>
                </c:pt>
                <c:pt idx="351">
                  <c:v>214.06697521381901</c:v>
                </c:pt>
                <c:pt idx="352">
                  <c:v>251.72813361569499</c:v>
                </c:pt>
                <c:pt idx="353">
                  <c:v>244.690813521433</c:v>
                </c:pt>
                <c:pt idx="354">
                  <c:v>200.44362141592501</c:v>
                </c:pt>
                <c:pt idx="355">
                  <c:v>139.67619591370601</c:v>
                </c:pt>
                <c:pt idx="356">
                  <c:v>156.242021955578</c:v>
                </c:pt>
                <c:pt idx="357">
                  <c:v>298.23424757556103</c:v>
                </c:pt>
                <c:pt idx="358">
                  <c:v>278.295054831367</c:v>
                </c:pt>
                <c:pt idx="359">
                  <c:v>333.40626595401</c:v>
                </c:pt>
                <c:pt idx="360">
                  <c:v>589.62387871793499</c:v>
                </c:pt>
                <c:pt idx="361">
                  <c:v>428.538091096166</c:v>
                </c:pt>
                <c:pt idx="362">
                  <c:v>160.53241479024399</c:v>
                </c:pt>
                <c:pt idx="363">
                  <c:v>217.19919508533499</c:v>
                </c:pt>
                <c:pt idx="364">
                  <c:v>401.559120210738</c:v>
                </c:pt>
                <c:pt idx="365">
                  <c:v>498.82282114406701</c:v>
                </c:pt>
                <c:pt idx="366">
                  <c:v>373.38801057572903</c:v>
                </c:pt>
                <c:pt idx="367">
                  <c:v>366.082162700776</c:v>
                </c:pt>
                <c:pt idx="368">
                  <c:v>295.18767836524802</c:v>
                </c:pt>
                <c:pt idx="369">
                  <c:v>208.21750553248</c:v>
                </c:pt>
                <c:pt idx="370">
                  <c:v>127.60944964334701</c:v>
                </c:pt>
                <c:pt idx="371">
                  <c:v>390.28763214570699</c:v>
                </c:pt>
                <c:pt idx="372">
                  <c:v>331.19119163029399</c:v>
                </c:pt>
                <c:pt idx="373">
                  <c:v>280.46017465519799</c:v>
                </c:pt>
                <c:pt idx="374">
                  <c:v>244.89525763642899</c:v>
                </c:pt>
                <c:pt idx="375">
                  <c:v>243.915959864737</c:v>
                </c:pt>
                <c:pt idx="376">
                  <c:v>130.90166844160399</c:v>
                </c:pt>
                <c:pt idx="377">
                  <c:v>114.325038293338</c:v>
                </c:pt>
                <c:pt idx="378">
                  <c:v>255.89390416216901</c:v>
                </c:pt>
                <c:pt idx="379">
                  <c:v>225.159952738702</c:v>
                </c:pt>
                <c:pt idx="380">
                  <c:v>160.83994191890901</c:v>
                </c:pt>
                <c:pt idx="381">
                  <c:v>190.358882481384</c:v>
                </c:pt>
                <c:pt idx="382">
                  <c:v>144.99921318256401</c:v>
                </c:pt>
                <c:pt idx="383">
                  <c:v>82.099036179807996</c:v>
                </c:pt>
                <c:pt idx="384">
                  <c:v>48.374939531324998</c:v>
                </c:pt>
                <c:pt idx="385">
                  <c:v>180.279658820745</c:v>
                </c:pt>
                <c:pt idx="386">
                  <c:v>132.02884322421201</c:v>
                </c:pt>
                <c:pt idx="387">
                  <c:v>99.473243958129999</c:v>
                </c:pt>
                <c:pt idx="388">
                  <c:v>115.524447011654</c:v>
                </c:pt>
                <c:pt idx="389">
                  <c:v>92.040224987216007</c:v>
                </c:pt>
                <c:pt idx="390">
                  <c:v>64.797762771980004</c:v>
                </c:pt>
                <c:pt idx="391">
                  <c:v>46.621636988013996</c:v>
                </c:pt>
                <c:pt idx="392">
                  <c:v>163.926961431628</c:v>
                </c:pt>
                <c:pt idx="393">
                  <c:v>118.51716789552199</c:v>
                </c:pt>
                <c:pt idx="394">
                  <c:v>101.53558308805</c:v>
                </c:pt>
                <c:pt idx="395">
                  <c:v>101.650391182685</c:v>
                </c:pt>
                <c:pt idx="396">
                  <c:v>101.83882004279501</c:v>
                </c:pt>
                <c:pt idx="397">
                  <c:v>68.668741988646005</c:v>
                </c:pt>
                <c:pt idx="398">
                  <c:v>26.326332055169999</c:v>
                </c:pt>
                <c:pt idx="399">
                  <c:v>124.859676052143</c:v>
                </c:pt>
                <c:pt idx="400">
                  <c:v>102.010407353918</c:v>
                </c:pt>
                <c:pt idx="401">
                  <c:v>103.23468685478301</c:v>
                </c:pt>
                <c:pt idx="402">
                  <c:v>105.61601689856199</c:v>
                </c:pt>
                <c:pt idx="403">
                  <c:v>96.613912403385996</c:v>
                </c:pt>
                <c:pt idx="404">
                  <c:v>39.116428900137997</c:v>
                </c:pt>
                <c:pt idx="405">
                  <c:v>33.368235740831999</c:v>
                </c:pt>
                <c:pt idx="406">
                  <c:v>124.355195283714</c:v>
                </c:pt>
                <c:pt idx="407">
                  <c:v>104.837501872098</c:v>
                </c:pt>
                <c:pt idx="408">
                  <c:v>74.942640056263997</c:v>
                </c:pt>
                <c:pt idx="409">
                  <c:v>86.530141332564</c:v>
                </c:pt>
                <c:pt idx="410">
                  <c:v>107.44116729629501</c:v>
                </c:pt>
                <c:pt idx="411">
                  <c:v>36.976265859351003</c:v>
                </c:pt>
                <c:pt idx="412">
                  <c:v>21.956687544779999</c:v>
                </c:pt>
                <c:pt idx="413">
                  <c:v>134.144367092999</c:v>
                </c:pt>
                <c:pt idx="414">
                  <c:v>109.901551347161</c:v>
                </c:pt>
                <c:pt idx="415">
                  <c:v>98.384184452983007</c:v>
                </c:pt>
                <c:pt idx="416">
                  <c:v>83.404767972569005</c:v>
                </c:pt>
                <c:pt idx="417">
                  <c:v>46.396176955017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19</c:f>
              <c:numCache>
                <c:formatCode>m/d/yyyy</c:formatCode>
                <c:ptCount val="41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  <c:pt idx="384">
                  <c:v>44612</c:v>
                </c:pt>
                <c:pt idx="385">
                  <c:v>44613</c:v>
                </c:pt>
                <c:pt idx="386">
                  <c:v>44614</c:v>
                </c:pt>
                <c:pt idx="387">
                  <c:v>44615</c:v>
                </c:pt>
                <c:pt idx="388">
                  <c:v>44616</c:v>
                </c:pt>
                <c:pt idx="389">
                  <c:v>44617</c:v>
                </c:pt>
                <c:pt idx="390">
                  <c:v>44618</c:v>
                </c:pt>
                <c:pt idx="391">
                  <c:v>44619</c:v>
                </c:pt>
                <c:pt idx="392">
                  <c:v>44620</c:v>
                </c:pt>
                <c:pt idx="393">
                  <c:v>44621</c:v>
                </c:pt>
                <c:pt idx="394">
                  <c:v>44622</c:v>
                </c:pt>
                <c:pt idx="395">
                  <c:v>44623</c:v>
                </c:pt>
                <c:pt idx="396">
                  <c:v>44624</c:v>
                </c:pt>
                <c:pt idx="397">
                  <c:v>44625</c:v>
                </c:pt>
                <c:pt idx="398">
                  <c:v>44626</c:v>
                </c:pt>
                <c:pt idx="399">
                  <c:v>44627</c:v>
                </c:pt>
                <c:pt idx="400">
                  <c:v>44628</c:v>
                </c:pt>
                <c:pt idx="401">
                  <c:v>44629</c:v>
                </c:pt>
                <c:pt idx="402">
                  <c:v>44630</c:v>
                </c:pt>
                <c:pt idx="403">
                  <c:v>44631</c:v>
                </c:pt>
                <c:pt idx="404">
                  <c:v>44632</c:v>
                </c:pt>
                <c:pt idx="405">
                  <c:v>44633</c:v>
                </c:pt>
                <c:pt idx="406">
                  <c:v>44634</c:v>
                </c:pt>
                <c:pt idx="407">
                  <c:v>44635</c:v>
                </c:pt>
                <c:pt idx="408">
                  <c:v>44636</c:v>
                </c:pt>
                <c:pt idx="409">
                  <c:v>44637</c:v>
                </c:pt>
                <c:pt idx="410">
                  <c:v>44638</c:v>
                </c:pt>
                <c:pt idx="411">
                  <c:v>44639</c:v>
                </c:pt>
                <c:pt idx="412">
                  <c:v>44640</c:v>
                </c:pt>
                <c:pt idx="413">
                  <c:v>44641</c:v>
                </c:pt>
                <c:pt idx="414">
                  <c:v>44642</c:v>
                </c:pt>
                <c:pt idx="415">
                  <c:v>44643</c:v>
                </c:pt>
                <c:pt idx="416">
                  <c:v>44644</c:v>
                </c:pt>
                <c:pt idx="417">
                  <c:v>44645</c:v>
                </c:pt>
              </c:numCache>
            </c:numRef>
          </c:cat>
          <c:val>
            <c:numRef>
              <c:f>List1!$D$2:$D$419</c:f>
              <c:numCache>
                <c:formatCode>General</c:formatCode>
                <c:ptCount val="4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58093126385</c:v>
                </c:pt>
                <c:pt idx="247">
                  <c:v>11.588828369451001</c:v>
                </c:pt>
                <c:pt idx="248">
                  <c:v>0</c:v>
                </c:pt>
                <c:pt idx="249">
                  <c:v>0</c:v>
                </c:pt>
                <c:pt idx="250">
                  <c:v>7.9510217062889996</c:v>
                </c:pt>
                <c:pt idx="251">
                  <c:v>0</c:v>
                </c:pt>
                <c:pt idx="252">
                  <c:v>0</c:v>
                </c:pt>
                <c:pt idx="253">
                  <c:v>6.5746219592369997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76923076920002</c:v>
                </c:pt>
                <c:pt idx="258">
                  <c:v>0</c:v>
                </c:pt>
                <c:pt idx="259">
                  <c:v>4.4756747079619998</c:v>
                </c:pt>
                <c:pt idx="260">
                  <c:v>8.3945435466940008</c:v>
                </c:pt>
                <c:pt idx="261">
                  <c:v>11.680423610029001</c:v>
                </c:pt>
                <c:pt idx="262">
                  <c:v>0</c:v>
                </c:pt>
                <c:pt idx="263">
                  <c:v>6.4653779013379999</c:v>
                </c:pt>
                <c:pt idx="264">
                  <c:v>6.3716588613839997</c:v>
                </c:pt>
                <c:pt idx="265">
                  <c:v>0</c:v>
                </c:pt>
                <c:pt idx="266">
                  <c:v>17.87895944456</c:v>
                </c:pt>
                <c:pt idx="267">
                  <c:v>11.243851018973</c:v>
                </c:pt>
                <c:pt idx="268">
                  <c:v>15.525941260188</c:v>
                </c:pt>
                <c:pt idx="269">
                  <c:v>7.6895473419789999</c:v>
                </c:pt>
                <c:pt idx="270">
                  <c:v>26.754876684340999</c:v>
                </c:pt>
                <c:pt idx="271">
                  <c:v>14.474223819746999</c:v>
                </c:pt>
                <c:pt idx="272">
                  <c:v>9.5757923968200007</c:v>
                </c:pt>
                <c:pt idx="273">
                  <c:v>29.931158335827</c:v>
                </c:pt>
                <c:pt idx="274">
                  <c:v>15.432098765432</c:v>
                </c:pt>
                <c:pt idx="275">
                  <c:v>18.895653999579999</c:v>
                </c:pt>
                <c:pt idx="276">
                  <c:v>13.852334118298</c:v>
                </c:pt>
                <c:pt idx="277">
                  <c:v>27.638561320754</c:v>
                </c:pt>
                <c:pt idx="278">
                  <c:v>21.894613924973999</c:v>
                </c:pt>
                <c:pt idx="279">
                  <c:v>7.25860598472</c:v>
                </c:pt>
                <c:pt idx="280">
                  <c:v>29.933793492041001</c:v>
                </c:pt>
                <c:pt idx="281">
                  <c:v>46.057008341435001</c:v>
                </c:pt>
                <c:pt idx="282">
                  <c:v>27.974789777681998</c:v>
                </c:pt>
                <c:pt idx="283">
                  <c:v>30.234556506794</c:v>
                </c:pt>
                <c:pt idx="284">
                  <c:v>46.799516908211999</c:v>
                </c:pt>
                <c:pt idx="285">
                  <c:v>18.012068085616999</c:v>
                </c:pt>
                <c:pt idx="286">
                  <c:v>11.964405892468999</c:v>
                </c:pt>
                <c:pt idx="287">
                  <c:v>54.106223678052999</c:v>
                </c:pt>
                <c:pt idx="288">
                  <c:v>55.112769204679999</c:v>
                </c:pt>
                <c:pt idx="289">
                  <c:v>26.715786217466</c:v>
                </c:pt>
                <c:pt idx="290">
                  <c:v>30.150202828636999</c:v>
                </c:pt>
                <c:pt idx="291">
                  <c:v>54.095419041587</c:v>
                </c:pt>
                <c:pt idx="292">
                  <c:v>20.970955227009998</c:v>
                </c:pt>
                <c:pt idx="293">
                  <c:v>19.604255430378</c:v>
                </c:pt>
                <c:pt idx="294">
                  <c:v>43.578569597539001</c:v>
                </c:pt>
                <c:pt idx="295">
                  <c:v>57.607293584300002</c:v>
                </c:pt>
                <c:pt idx="296">
                  <c:v>31.85649872574</c:v>
                </c:pt>
                <c:pt idx="297">
                  <c:v>55.05685218432</c:v>
                </c:pt>
                <c:pt idx="298">
                  <c:v>40.267838652522997</c:v>
                </c:pt>
                <c:pt idx="299">
                  <c:v>28.588091344668999</c:v>
                </c:pt>
                <c:pt idx="300">
                  <c:v>26.169968254690001</c:v>
                </c:pt>
                <c:pt idx="301">
                  <c:v>50.275397454946997</c:v>
                </c:pt>
                <c:pt idx="302">
                  <c:v>40.551055971415998</c:v>
                </c:pt>
                <c:pt idx="303">
                  <c:v>50.580600725346997</c:v>
                </c:pt>
                <c:pt idx="304">
                  <c:v>44.22821760283</c:v>
                </c:pt>
                <c:pt idx="305">
                  <c:v>45.644963331878998</c:v>
                </c:pt>
                <c:pt idx="306">
                  <c:v>22.193079794209002</c:v>
                </c:pt>
                <c:pt idx="307">
                  <c:v>24.126664991203</c:v>
                </c:pt>
                <c:pt idx="308">
                  <c:v>51.485148514850998</c:v>
                </c:pt>
                <c:pt idx="309">
                  <c:v>41.870745980895002</c:v>
                </c:pt>
                <c:pt idx="310">
                  <c:v>30.600925678001001</c:v>
                </c:pt>
                <c:pt idx="311">
                  <c:v>36.631412845414999</c:v>
                </c:pt>
                <c:pt idx="312">
                  <c:v>25.574279581677001</c:v>
                </c:pt>
                <c:pt idx="313">
                  <c:v>15.438966134173</c:v>
                </c:pt>
                <c:pt idx="314">
                  <c:v>9.0505109013399991</c:v>
                </c:pt>
                <c:pt idx="315">
                  <c:v>39.357048936912001</c:v>
                </c:pt>
                <c:pt idx="316">
                  <c:v>37.994256682128999</c:v>
                </c:pt>
                <c:pt idx="317">
                  <c:v>34.884227968429002</c:v>
                </c:pt>
                <c:pt idx="318">
                  <c:v>16.322603369328</c:v>
                </c:pt>
                <c:pt idx="319">
                  <c:v>32.006199095402998</c:v>
                </c:pt>
                <c:pt idx="320">
                  <c:v>15.103965630087</c:v>
                </c:pt>
                <c:pt idx="321">
                  <c:v>14.225703335508999</c:v>
                </c:pt>
                <c:pt idx="322">
                  <c:v>26.497962969096001</c:v>
                </c:pt>
                <c:pt idx="323">
                  <c:v>29.507471127759</c:v>
                </c:pt>
                <c:pt idx="324">
                  <c:v>17.874553136170999</c:v>
                </c:pt>
                <c:pt idx="325">
                  <c:v>18.620918578009</c:v>
                </c:pt>
                <c:pt idx="326">
                  <c:v>5.6669149315110001</c:v>
                </c:pt>
                <c:pt idx="327">
                  <c:v>5.6668231789250001</c:v>
                </c:pt>
                <c:pt idx="328">
                  <c:v>7.2847360497300002</c:v>
                </c:pt>
                <c:pt idx="329">
                  <c:v>28.118773700108999</c:v>
                </c:pt>
                <c:pt idx="330">
                  <c:v>29.486770800127001</c:v>
                </c:pt>
                <c:pt idx="331">
                  <c:v>27.652245362323001</c:v>
                </c:pt>
                <c:pt idx="332">
                  <c:v>15.688735487919001</c:v>
                </c:pt>
                <c:pt idx="333">
                  <c:v>25.062067777229</c:v>
                </c:pt>
                <c:pt idx="334">
                  <c:v>5.481983851641</c:v>
                </c:pt>
                <c:pt idx="335">
                  <c:v>25.810084704005</c:v>
                </c:pt>
                <c:pt idx="336">
                  <c:v>61.309223545846002</c:v>
                </c:pt>
                <c:pt idx="337">
                  <c:v>52.269495368767998</c:v>
                </c:pt>
                <c:pt idx="338">
                  <c:v>37.297527706734002</c:v>
                </c:pt>
                <c:pt idx="339">
                  <c:v>39.133641385330002</c:v>
                </c:pt>
                <c:pt idx="340">
                  <c:v>45.791942095350002</c:v>
                </c:pt>
                <c:pt idx="341">
                  <c:v>23.563891282096002</c:v>
                </c:pt>
                <c:pt idx="342">
                  <c:v>27.202682037407001</c:v>
                </c:pt>
                <c:pt idx="343">
                  <c:v>62.055119547361997</c:v>
                </c:pt>
                <c:pt idx="344">
                  <c:v>76.801020149398994</c:v>
                </c:pt>
                <c:pt idx="345">
                  <c:v>91.949399096308994</c:v>
                </c:pt>
                <c:pt idx="346">
                  <c:v>64.139567699313005</c:v>
                </c:pt>
                <c:pt idx="347">
                  <c:v>80.333171257635996</c:v>
                </c:pt>
                <c:pt idx="348">
                  <c:v>53.437959232461999</c:v>
                </c:pt>
                <c:pt idx="349">
                  <c:v>58.997464513727003</c:v>
                </c:pt>
                <c:pt idx="350">
                  <c:v>188.77422602567299</c:v>
                </c:pt>
                <c:pt idx="351">
                  <c:v>182.32428670842</c:v>
                </c:pt>
                <c:pt idx="352">
                  <c:v>220.888122589445</c:v>
                </c:pt>
                <c:pt idx="353">
                  <c:v>206.70125467661501</c:v>
                </c:pt>
                <c:pt idx="354">
                  <c:v>228.632449379132</c:v>
                </c:pt>
                <c:pt idx="355">
                  <c:v>125.166717964501</c:v>
                </c:pt>
                <c:pt idx="356">
                  <c:v>138.76926021628799</c:v>
                </c:pt>
                <c:pt idx="357">
                  <c:v>349.91456366198503</c:v>
                </c:pt>
                <c:pt idx="358">
                  <c:v>312.08868746353301</c:v>
                </c:pt>
                <c:pt idx="359">
                  <c:v>354.06123097089801</c:v>
                </c:pt>
                <c:pt idx="360">
                  <c:v>431.41161109690199</c:v>
                </c:pt>
                <c:pt idx="361">
                  <c:v>409.24136547527502</c:v>
                </c:pt>
                <c:pt idx="362">
                  <c:v>159.676104704766</c:v>
                </c:pt>
                <c:pt idx="363">
                  <c:v>235.075698381851</c:v>
                </c:pt>
                <c:pt idx="364">
                  <c:v>449.406783046378</c:v>
                </c:pt>
                <c:pt idx="365">
                  <c:v>505.483264584952</c:v>
                </c:pt>
                <c:pt idx="366">
                  <c:v>398.31131906658601</c:v>
                </c:pt>
                <c:pt idx="367">
                  <c:v>348.526532987672</c:v>
                </c:pt>
                <c:pt idx="368">
                  <c:v>288.69920574761801</c:v>
                </c:pt>
                <c:pt idx="369">
                  <c:v>234.55773348706899</c:v>
                </c:pt>
                <c:pt idx="370">
                  <c:v>137.677531553845</c:v>
                </c:pt>
                <c:pt idx="371">
                  <c:v>479.59579745136602</c:v>
                </c:pt>
                <c:pt idx="372">
                  <c:v>360.53666769552001</c:v>
                </c:pt>
                <c:pt idx="373">
                  <c:v>302.909107598297</c:v>
                </c:pt>
                <c:pt idx="374">
                  <c:v>264.437709864704</c:v>
                </c:pt>
                <c:pt idx="375">
                  <c:v>234.30820339779501</c:v>
                </c:pt>
                <c:pt idx="376">
                  <c:v>144.85850195428401</c:v>
                </c:pt>
                <c:pt idx="377">
                  <c:v>118.731529744857</c:v>
                </c:pt>
                <c:pt idx="378">
                  <c:v>321.85765291496102</c:v>
                </c:pt>
                <c:pt idx="379">
                  <c:v>282.48587570621402</c:v>
                </c:pt>
                <c:pt idx="380">
                  <c:v>218.45985800109199</c:v>
                </c:pt>
                <c:pt idx="381">
                  <c:v>185.69740413209101</c:v>
                </c:pt>
                <c:pt idx="382">
                  <c:v>172.350116951865</c:v>
                </c:pt>
                <c:pt idx="383">
                  <c:v>101.703698905227</c:v>
                </c:pt>
                <c:pt idx="384">
                  <c:v>82.910683171073998</c:v>
                </c:pt>
                <c:pt idx="385">
                  <c:v>231.060483479499</c:v>
                </c:pt>
                <c:pt idx="386">
                  <c:v>171.38348509933701</c:v>
                </c:pt>
                <c:pt idx="387">
                  <c:v>149.91050601257399</c:v>
                </c:pt>
                <c:pt idx="388">
                  <c:v>134.91095231640099</c:v>
                </c:pt>
                <c:pt idx="389">
                  <c:v>116.63197778193</c:v>
                </c:pt>
                <c:pt idx="390">
                  <c:v>78.602169935313995</c:v>
                </c:pt>
                <c:pt idx="391">
                  <c:v>64.424272488902005</c:v>
                </c:pt>
                <c:pt idx="392">
                  <c:v>182.224425799887</c:v>
                </c:pt>
                <c:pt idx="393">
                  <c:v>150.605317526211</c:v>
                </c:pt>
                <c:pt idx="394">
                  <c:v>124.800576398538</c:v>
                </c:pt>
                <c:pt idx="395">
                  <c:v>108.66490059412</c:v>
                </c:pt>
                <c:pt idx="396">
                  <c:v>113.695488794249</c:v>
                </c:pt>
                <c:pt idx="397">
                  <c:v>75.149817906210004</c:v>
                </c:pt>
                <c:pt idx="398">
                  <c:v>58.448732112118002</c:v>
                </c:pt>
                <c:pt idx="399">
                  <c:v>199.67640864964801</c:v>
                </c:pt>
                <c:pt idx="400">
                  <c:v>155.330333703473</c:v>
                </c:pt>
                <c:pt idx="401">
                  <c:v>160.40447592649599</c:v>
                </c:pt>
                <c:pt idx="402">
                  <c:v>119.932529935031</c:v>
                </c:pt>
                <c:pt idx="403">
                  <c:v>115.32769081927501</c:v>
                </c:pt>
                <c:pt idx="404">
                  <c:v>62.142042615347002</c:v>
                </c:pt>
                <c:pt idx="405">
                  <c:v>49.327986265038</c:v>
                </c:pt>
                <c:pt idx="406">
                  <c:v>218.37696603309499</c:v>
                </c:pt>
                <c:pt idx="407">
                  <c:v>159.41917639827901</c:v>
                </c:pt>
                <c:pt idx="408">
                  <c:v>138.23823055064801</c:v>
                </c:pt>
                <c:pt idx="409">
                  <c:v>126.67703115103301</c:v>
                </c:pt>
                <c:pt idx="410">
                  <c:v>132.98212413369799</c:v>
                </c:pt>
                <c:pt idx="411">
                  <c:v>63.929626267403997</c:v>
                </c:pt>
                <c:pt idx="412">
                  <c:v>50.504081880541001</c:v>
                </c:pt>
                <c:pt idx="413">
                  <c:v>213.452628215369</c:v>
                </c:pt>
                <c:pt idx="414">
                  <c:v>164.85517664423799</c:v>
                </c:pt>
                <c:pt idx="415">
                  <c:v>132.87423581343899</c:v>
                </c:pt>
                <c:pt idx="416">
                  <c:v>128.35085120241101</c:v>
                </c:pt>
                <c:pt idx="417">
                  <c:v>120.607247921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63</c:v>
                </c:pt>
                <c:pt idx="1">
                  <c:v>44464</c:v>
                </c:pt>
                <c:pt idx="2">
                  <c:v>44465</c:v>
                </c:pt>
                <c:pt idx="3">
                  <c:v>44466</c:v>
                </c:pt>
                <c:pt idx="4">
                  <c:v>44467</c:v>
                </c:pt>
                <c:pt idx="5">
                  <c:v>44468</c:v>
                </c:pt>
                <c:pt idx="6">
                  <c:v>44469</c:v>
                </c:pt>
                <c:pt idx="7">
                  <c:v>44470</c:v>
                </c:pt>
                <c:pt idx="8">
                  <c:v>44471</c:v>
                </c:pt>
                <c:pt idx="9">
                  <c:v>44472</c:v>
                </c:pt>
                <c:pt idx="10">
                  <c:v>44473</c:v>
                </c:pt>
                <c:pt idx="11">
                  <c:v>44474</c:v>
                </c:pt>
                <c:pt idx="12">
                  <c:v>44475</c:v>
                </c:pt>
                <c:pt idx="13">
                  <c:v>44476</c:v>
                </c:pt>
                <c:pt idx="14">
                  <c:v>44477</c:v>
                </c:pt>
                <c:pt idx="15">
                  <c:v>44478</c:v>
                </c:pt>
                <c:pt idx="16">
                  <c:v>44479</c:v>
                </c:pt>
                <c:pt idx="17">
                  <c:v>44480</c:v>
                </c:pt>
                <c:pt idx="18">
                  <c:v>44481</c:v>
                </c:pt>
                <c:pt idx="19">
                  <c:v>44482</c:v>
                </c:pt>
                <c:pt idx="20">
                  <c:v>44483</c:v>
                </c:pt>
                <c:pt idx="21">
                  <c:v>44484</c:v>
                </c:pt>
                <c:pt idx="22">
                  <c:v>44485</c:v>
                </c:pt>
                <c:pt idx="23">
                  <c:v>44486</c:v>
                </c:pt>
                <c:pt idx="24">
                  <c:v>44487</c:v>
                </c:pt>
                <c:pt idx="25">
                  <c:v>44488</c:v>
                </c:pt>
                <c:pt idx="26">
                  <c:v>44489</c:v>
                </c:pt>
                <c:pt idx="27">
                  <c:v>44490</c:v>
                </c:pt>
                <c:pt idx="28">
                  <c:v>44491</c:v>
                </c:pt>
                <c:pt idx="29">
                  <c:v>44492</c:v>
                </c:pt>
                <c:pt idx="30">
                  <c:v>44493</c:v>
                </c:pt>
                <c:pt idx="31">
                  <c:v>44494</c:v>
                </c:pt>
                <c:pt idx="32">
                  <c:v>44495</c:v>
                </c:pt>
                <c:pt idx="33">
                  <c:v>44496</c:v>
                </c:pt>
                <c:pt idx="34">
                  <c:v>44497</c:v>
                </c:pt>
                <c:pt idx="35">
                  <c:v>44498</c:v>
                </c:pt>
                <c:pt idx="36">
                  <c:v>44499</c:v>
                </c:pt>
                <c:pt idx="37">
                  <c:v>44500</c:v>
                </c:pt>
                <c:pt idx="38">
                  <c:v>44501</c:v>
                </c:pt>
                <c:pt idx="39">
                  <c:v>44502</c:v>
                </c:pt>
                <c:pt idx="40">
                  <c:v>44503</c:v>
                </c:pt>
                <c:pt idx="41">
                  <c:v>44504</c:v>
                </c:pt>
                <c:pt idx="42">
                  <c:v>44505</c:v>
                </c:pt>
                <c:pt idx="43">
                  <c:v>44506</c:v>
                </c:pt>
                <c:pt idx="44">
                  <c:v>44507</c:v>
                </c:pt>
                <c:pt idx="45">
                  <c:v>44508</c:v>
                </c:pt>
                <c:pt idx="46">
                  <c:v>44509</c:v>
                </c:pt>
                <c:pt idx="47">
                  <c:v>44510</c:v>
                </c:pt>
                <c:pt idx="48">
                  <c:v>44511</c:v>
                </c:pt>
                <c:pt idx="49">
                  <c:v>44512</c:v>
                </c:pt>
                <c:pt idx="50">
                  <c:v>44513</c:v>
                </c:pt>
                <c:pt idx="51">
                  <c:v>44514</c:v>
                </c:pt>
                <c:pt idx="52">
                  <c:v>44515</c:v>
                </c:pt>
                <c:pt idx="53">
                  <c:v>44516</c:v>
                </c:pt>
                <c:pt idx="54">
                  <c:v>44517</c:v>
                </c:pt>
                <c:pt idx="55">
                  <c:v>44518</c:v>
                </c:pt>
                <c:pt idx="56">
                  <c:v>44519</c:v>
                </c:pt>
                <c:pt idx="57">
                  <c:v>44520</c:v>
                </c:pt>
                <c:pt idx="58">
                  <c:v>44521</c:v>
                </c:pt>
                <c:pt idx="59">
                  <c:v>44522</c:v>
                </c:pt>
                <c:pt idx="60">
                  <c:v>44523</c:v>
                </c:pt>
                <c:pt idx="61">
                  <c:v>44524</c:v>
                </c:pt>
                <c:pt idx="62">
                  <c:v>44525</c:v>
                </c:pt>
                <c:pt idx="63">
                  <c:v>44526</c:v>
                </c:pt>
                <c:pt idx="64">
                  <c:v>44527</c:v>
                </c:pt>
                <c:pt idx="65">
                  <c:v>44528</c:v>
                </c:pt>
                <c:pt idx="66">
                  <c:v>44529</c:v>
                </c:pt>
                <c:pt idx="67">
                  <c:v>44530</c:v>
                </c:pt>
                <c:pt idx="68">
                  <c:v>44531</c:v>
                </c:pt>
                <c:pt idx="69">
                  <c:v>44532</c:v>
                </c:pt>
                <c:pt idx="70">
                  <c:v>44533</c:v>
                </c:pt>
                <c:pt idx="71">
                  <c:v>44534</c:v>
                </c:pt>
                <c:pt idx="72">
                  <c:v>44535</c:v>
                </c:pt>
                <c:pt idx="73">
                  <c:v>44536</c:v>
                </c:pt>
                <c:pt idx="74">
                  <c:v>44537</c:v>
                </c:pt>
                <c:pt idx="75">
                  <c:v>44538</c:v>
                </c:pt>
                <c:pt idx="76">
                  <c:v>44539</c:v>
                </c:pt>
                <c:pt idx="77">
                  <c:v>44540</c:v>
                </c:pt>
                <c:pt idx="78">
                  <c:v>44541</c:v>
                </c:pt>
                <c:pt idx="79">
                  <c:v>44542</c:v>
                </c:pt>
                <c:pt idx="80">
                  <c:v>44543</c:v>
                </c:pt>
                <c:pt idx="81">
                  <c:v>44544</c:v>
                </c:pt>
                <c:pt idx="82">
                  <c:v>44545</c:v>
                </c:pt>
                <c:pt idx="83">
                  <c:v>44546</c:v>
                </c:pt>
                <c:pt idx="84">
                  <c:v>44547</c:v>
                </c:pt>
                <c:pt idx="85">
                  <c:v>44548</c:v>
                </c:pt>
                <c:pt idx="86">
                  <c:v>44549</c:v>
                </c:pt>
                <c:pt idx="87">
                  <c:v>44550</c:v>
                </c:pt>
                <c:pt idx="88">
                  <c:v>44551</c:v>
                </c:pt>
                <c:pt idx="89">
                  <c:v>44552</c:v>
                </c:pt>
                <c:pt idx="90">
                  <c:v>44553</c:v>
                </c:pt>
                <c:pt idx="91">
                  <c:v>44554</c:v>
                </c:pt>
                <c:pt idx="92">
                  <c:v>44555</c:v>
                </c:pt>
                <c:pt idx="93">
                  <c:v>44556</c:v>
                </c:pt>
                <c:pt idx="94">
                  <c:v>44557</c:v>
                </c:pt>
                <c:pt idx="95">
                  <c:v>44558</c:v>
                </c:pt>
                <c:pt idx="96">
                  <c:v>44559</c:v>
                </c:pt>
                <c:pt idx="97">
                  <c:v>44560</c:v>
                </c:pt>
                <c:pt idx="98">
                  <c:v>44561</c:v>
                </c:pt>
                <c:pt idx="99">
                  <c:v>44562</c:v>
                </c:pt>
                <c:pt idx="100">
                  <c:v>44563</c:v>
                </c:pt>
                <c:pt idx="101">
                  <c:v>44564</c:v>
                </c:pt>
                <c:pt idx="102">
                  <c:v>44565</c:v>
                </c:pt>
                <c:pt idx="103">
                  <c:v>44566</c:v>
                </c:pt>
                <c:pt idx="104">
                  <c:v>44567</c:v>
                </c:pt>
                <c:pt idx="105">
                  <c:v>44568</c:v>
                </c:pt>
                <c:pt idx="106">
                  <c:v>44569</c:v>
                </c:pt>
                <c:pt idx="107">
                  <c:v>44570</c:v>
                </c:pt>
                <c:pt idx="108">
                  <c:v>44571</c:v>
                </c:pt>
                <c:pt idx="109">
                  <c:v>44572</c:v>
                </c:pt>
                <c:pt idx="110">
                  <c:v>44573</c:v>
                </c:pt>
                <c:pt idx="111">
                  <c:v>44574</c:v>
                </c:pt>
                <c:pt idx="112">
                  <c:v>44575</c:v>
                </c:pt>
                <c:pt idx="113">
                  <c:v>44576</c:v>
                </c:pt>
                <c:pt idx="114">
                  <c:v>44577</c:v>
                </c:pt>
                <c:pt idx="115">
                  <c:v>44578</c:v>
                </c:pt>
                <c:pt idx="116">
                  <c:v>44579</c:v>
                </c:pt>
                <c:pt idx="117">
                  <c:v>44580</c:v>
                </c:pt>
                <c:pt idx="118">
                  <c:v>44581</c:v>
                </c:pt>
                <c:pt idx="119">
                  <c:v>44582</c:v>
                </c:pt>
                <c:pt idx="120">
                  <c:v>44583</c:v>
                </c:pt>
                <c:pt idx="121">
                  <c:v>44584</c:v>
                </c:pt>
                <c:pt idx="122">
                  <c:v>44585</c:v>
                </c:pt>
                <c:pt idx="123">
                  <c:v>44586</c:v>
                </c:pt>
                <c:pt idx="124">
                  <c:v>44587</c:v>
                </c:pt>
                <c:pt idx="125">
                  <c:v>44588</c:v>
                </c:pt>
                <c:pt idx="126">
                  <c:v>44589</c:v>
                </c:pt>
                <c:pt idx="127">
                  <c:v>44590</c:v>
                </c:pt>
                <c:pt idx="128">
                  <c:v>44591</c:v>
                </c:pt>
                <c:pt idx="129">
                  <c:v>44592</c:v>
                </c:pt>
                <c:pt idx="130">
                  <c:v>44593</c:v>
                </c:pt>
                <c:pt idx="131">
                  <c:v>44594</c:v>
                </c:pt>
                <c:pt idx="132">
                  <c:v>44595</c:v>
                </c:pt>
                <c:pt idx="133">
                  <c:v>44596</c:v>
                </c:pt>
                <c:pt idx="134">
                  <c:v>44597</c:v>
                </c:pt>
                <c:pt idx="135">
                  <c:v>44598</c:v>
                </c:pt>
                <c:pt idx="136">
                  <c:v>44599</c:v>
                </c:pt>
                <c:pt idx="137">
                  <c:v>44600</c:v>
                </c:pt>
                <c:pt idx="138">
                  <c:v>44601</c:v>
                </c:pt>
                <c:pt idx="139">
                  <c:v>44602</c:v>
                </c:pt>
                <c:pt idx="140">
                  <c:v>44603</c:v>
                </c:pt>
                <c:pt idx="141">
                  <c:v>44604</c:v>
                </c:pt>
                <c:pt idx="142">
                  <c:v>44605</c:v>
                </c:pt>
                <c:pt idx="143">
                  <c:v>44606</c:v>
                </c:pt>
                <c:pt idx="144">
                  <c:v>44607</c:v>
                </c:pt>
                <c:pt idx="145">
                  <c:v>44608</c:v>
                </c:pt>
                <c:pt idx="146">
                  <c:v>44609</c:v>
                </c:pt>
                <c:pt idx="147">
                  <c:v>44610</c:v>
                </c:pt>
                <c:pt idx="148">
                  <c:v>44611</c:v>
                </c:pt>
                <c:pt idx="149">
                  <c:v>44612</c:v>
                </c:pt>
                <c:pt idx="150">
                  <c:v>44613</c:v>
                </c:pt>
                <c:pt idx="151">
                  <c:v>44614</c:v>
                </c:pt>
                <c:pt idx="152">
                  <c:v>44615</c:v>
                </c:pt>
                <c:pt idx="153">
                  <c:v>44616</c:v>
                </c:pt>
                <c:pt idx="154">
                  <c:v>44617</c:v>
                </c:pt>
                <c:pt idx="155">
                  <c:v>44618</c:v>
                </c:pt>
                <c:pt idx="156">
                  <c:v>44619</c:v>
                </c:pt>
                <c:pt idx="157">
                  <c:v>44620</c:v>
                </c:pt>
                <c:pt idx="158">
                  <c:v>44621</c:v>
                </c:pt>
                <c:pt idx="159">
                  <c:v>44622</c:v>
                </c:pt>
                <c:pt idx="160">
                  <c:v>44623</c:v>
                </c:pt>
                <c:pt idx="161">
                  <c:v>44624</c:v>
                </c:pt>
                <c:pt idx="162">
                  <c:v>44625</c:v>
                </c:pt>
                <c:pt idx="163">
                  <c:v>44626</c:v>
                </c:pt>
                <c:pt idx="164">
                  <c:v>44627</c:v>
                </c:pt>
                <c:pt idx="165">
                  <c:v>44628</c:v>
                </c:pt>
                <c:pt idx="166">
                  <c:v>44629</c:v>
                </c:pt>
                <c:pt idx="167">
                  <c:v>44630</c:v>
                </c:pt>
                <c:pt idx="168">
                  <c:v>44631</c:v>
                </c:pt>
                <c:pt idx="169">
                  <c:v>44632</c:v>
                </c:pt>
                <c:pt idx="170">
                  <c:v>44633</c:v>
                </c:pt>
                <c:pt idx="171">
                  <c:v>44634</c:v>
                </c:pt>
                <c:pt idx="172">
                  <c:v>44635</c:v>
                </c:pt>
                <c:pt idx="173">
                  <c:v>44636</c:v>
                </c:pt>
                <c:pt idx="174">
                  <c:v>44637</c:v>
                </c:pt>
                <c:pt idx="175">
                  <c:v>44638</c:v>
                </c:pt>
                <c:pt idx="176">
                  <c:v>44639</c:v>
                </c:pt>
                <c:pt idx="177">
                  <c:v>44640</c:v>
                </c:pt>
                <c:pt idx="178">
                  <c:v>44641</c:v>
                </c:pt>
                <c:pt idx="179">
                  <c:v>44642</c:v>
                </c:pt>
                <c:pt idx="180">
                  <c:v>44643</c:v>
                </c:pt>
                <c:pt idx="181">
                  <c:v>44644</c:v>
                </c:pt>
                <c:pt idx="182">
                  <c:v>44645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1</c:v>
                </c:pt>
                <c:pt idx="5">
                  <c:v>6</c:v>
                </c:pt>
                <c:pt idx="6">
                  <c:v>2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4</c:v>
                </c:pt>
                <c:pt idx="11">
                  <c:v>5</c:v>
                </c:pt>
                <c:pt idx="12">
                  <c:v>2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2</c:v>
                </c:pt>
                <c:pt idx="18">
                  <c:v>3</c:v>
                </c:pt>
                <c:pt idx="19">
                  <c:v>1</c:v>
                </c:pt>
                <c:pt idx="20">
                  <c:v>3</c:v>
                </c:pt>
                <c:pt idx="21">
                  <c:v>7</c:v>
                </c:pt>
                <c:pt idx="22">
                  <c:v>2</c:v>
                </c:pt>
                <c:pt idx="23">
                  <c:v>1</c:v>
                </c:pt>
                <c:pt idx="24">
                  <c:v>12</c:v>
                </c:pt>
                <c:pt idx="25">
                  <c:v>8</c:v>
                </c:pt>
                <c:pt idx="26">
                  <c:v>11</c:v>
                </c:pt>
                <c:pt idx="27">
                  <c:v>7</c:v>
                </c:pt>
                <c:pt idx="28">
                  <c:v>12</c:v>
                </c:pt>
                <c:pt idx="29">
                  <c:v>0</c:v>
                </c:pt>
                <c:pt idx="30">
                  <c:v>4</c:v>
                </c:pt>
                <c:pt idx="31">
                  <c:v>20</c:v>
                </c:pt>
                <c:pt idx="32">
                  <c:v>6</c:v>
                </c:pt>
                <c:pt idx="33">
                  <c:v>18</c:v>
                </c:pt>
                <c:pt idx="34">
                  <c:v>3</c:v>
                </c:pt>
                <c:pt idx="35">
                  <c:v>8</c:v>
                </c:pt>
                <c:pt idx="36">
                  <c:v>5</c:v>
                </c:pt>
                <c:pt idx="37">
                  <c:v>4</c:v>
                </c:pt>
                <c:pt idx="38">
                  <c:v>41</c:v>
                </c:pt>
                <c:pt idx="39">
                  <c:v>26</c:v>
                </c:pt>
                <c:pt idx="40">
                  <c:v>21</c:v>
                </c:pt>
                <c:pt idx="41">
                  <c:v>25</c:v>
                </c:pt>
                <c:pt idx="42">
                  <c:v>27</c:v>
                </c:pt>
                <c:pt idx="43">
                  <c:v>13</c:v>
                </c:pt>
                <c:pt idx="44">
                  <c:v>5</c:v>
                </c:pt>
                <c:pt idx="45">
                  <c:v>55</c:v>
                </c:pt>
                <c:pt idx="46">
                  <c:v>29</c:v>
                </c:pt>
                <c:pt idx="47">
                  <c:v>31</c:v>
                </c:pt>
                <c:pt idx="48">
                  <c:v>38</c:v>
                </c:pt>
                <c:pt idx="49">
                  <c:v>35</c:v>
                </c:pt>
                <c:pt idx="50">
                  <c:v>20</c:v>
                </c:pt>
                <c:pt idx="51">
                  <c:v>14</c:v>
                </c:pt>
                <c:pt idx="52">
                  <c:v>59</c:v>
                </c:pt>
                <c:pt idx="53">
                  <c:v>35</c:v>
                </c:pt>
                <c:pt idx="54">
                  <c:v>14</c:v>
                </c:pt>
                <c:pt idx="55">
                  <c:v>43</c:v>
                </c:pt>
                <c:pt idx="56">
                  <c:v>53</c:v>
                </c:pt>
                <c:pt idx="57">
                  <c:v>13</c:v>
                </c:pt>
                <c:pt idx="58">
                  <c:v>7</c:v>
                </c:pt>
                <c:pt idx="59">
                  <c:v>74</c:v>
                </c:pt>
                <c:pt idx="60">
                  <c:v>44</c:v>
                </c:pt>
                <c:pt idx="61">
                  <c:v>49</c:v>
                </c:pt>
                <c:pt idx="62">
                  <c:v>49</c:v>
                </c:pt>
                <c:pt idx="63">
                  <c:v>51</c:v>
                </c:pt>
                <c:pt idx="64">
                  <c:v>22</c:v>
                </c:pt>
                <c:pt idx="65">
                  <c:v>7</c:v>
                </c:pt>
                <c:pt idx="66">
                  <c:v>44</c:v>
                </c:pt>
                <c:pt idx="67">
                  <c:v>49</c:v>
                </c:pt>
                <c:pt idx="68">
                  <c:v>43</c:v>
                </c:pt>
                <c:pt idx="69">
                  <c:v>33</c:v>
                </c:pt>
                <c:pt idx="70">
                  <c:v>30</c:v>
                </c:pt>
                <c:pt idx="71">
                  <c:v>21</c:v>
                </c:pt>
                <c:pt idx="72">
                  <c:v>10</c:v>
                </c:pt>
                <c:pt idx="73">
                  <c:v>50</c:v>
                </c:pt>
                <c:pt idx="74">
                  <c:v>37</c:v>
                </c:pt>
                <c:pt idx="75">
                  <c:v>35</c:v>
                </c:pt>
                <c:pt idx="76">
                  <c:v>26</c:v>
                </c:pt>
                <c:pt idx="77">
                  <c:v>20</c:v>
                </c:pt>
                <c:pt idx="78">
                  <c:v>13</c:v>
                </c:pt>
                <c:pt idx="79">
                  <c:v>9</c:v>
                </c:pt>
                <c:pt idx="80">
                  <c:v>35</c:v>
                </c:pt>
                <c:pt idx="81">
                  <c:v>37</c:v>
                </c:pt>
                <c:pt idx="82">
                  <c:v>27</c:v>
                </c:pt>
                <c:pt idx="83">
                  <c:v>18</c:v>
                </c:pt>
                <c:pt idx="84">
                  <c:v>16</c:v>
                </c:pt>
                <c:pt idx="85">
                  <c:v>8</c:v>
                </c:pt>
                <c:pt idx="86">
                  <c:v>10</c:v>
                </c:pt>
                <c:pt idx="87">
                  <c:v>28</c:v>
                </c:pt>
                <c:pt idx="88">
                  <c:v>13</c:v>
                </c:pt>
                <c:pt idx="89">
                  <c:v>10</c:v>
                </c:pt>
                <c:pt idx="90">
                  <c:v>4</c:v>
                </c:pt>
                <c:pt idx="91">
                  <c:v>7</c:v>
                </c:pt>
                <c:pt idx="92">
                  <c:v>3</c:v>
                </c:pt>
                <c:pt idx="93">
                  <c:v>5</c:v>
                </c:pt>
                <c:pt idx="94">
                  <c:v>10</c:v>
                </c:pt>
                <c:pt idx="95">
                  <c:v>17</c:v>
                </c:pt>
                <c:pt idx="96">
                  <c:v>10</c:v>
                </c:pt>
                <c:pt idx="97">
                  <c:v>10</c:v>
                </c:pt>
                <c:pt idx="98">
                  <c:v>6</c:v>
                </c:pt>
                <c:pt idx="99">
                  <c:v>1</c:v>
                </c:pt>
                <c:pt idx="100">
                  <c:v>4</c:v>
                </c:pt>
                <c:pt idx="101">
                  <c:v>21</c:v>
                </c:pt>
                <c:pt idx="102">
                  <c:v>14</c:v>
                </c:pt>
                <c:pt idx="103">
                  <c:v>5</c:v>
                </c:pt>
                <c:pt idx="104">
                  <c:v>9</c:v>
                </c:pt>
                <c:pt idx="105">
                  <c:v>11</c:v>
                </c:pt>
                <c:pt idx="106">
                  <c:v>3</c:v>
                </c:pt>
                <c:pt idx="107">
                  <c:v>3</c:v>
                </c:pt>
                <c:pt idx="108">
                  <c:v>18</c:v>
                </c:pt>
                <c:pt idx="109">
                  <c:v>11</c:v>
                </c:pt>
                <c:pt idx="110">
                  <c:v>9</c:v>
                </c:pt>
                <c:pt idx="111">
                  <c:v>13</c:v>
                </c:pt>
                <c:pt idx="112">
                  <c:v>13</c:v>
                </c:pt>
                <c:pt idx="113">
                  <c:v>6</c:v>
                </c:pt>
                <c:pt idx="114">
                  <c:v>11</c:v>
                </c:pt>
                <c:pt idx="115">
                  <c:v>47</c:v>
                </c:pt>
                <c:pt idx="116">
                  <c:v>36</c:v>
                </c:pt>
                <c:pt idx="117">
                  <c:v>44</c:v>
                </c:pt>
                <c:pt idx="118">
                  <c:v>48</c:v>
                </c:pt>
                <c:pt idx="119">
                  <c:v>69</c:v>
                </c:pt>
                <c:pt idx="120">
                  <c:v>20</c:v>
                </c:pt>
                <c:pt idx="121">
                  <c:v>16</c:v>
                </c:pt>
                <c:pt idx="122">
                  <c:v>96</c:v>
                </c:pt>
                <c:pt idx="123">
                  <c:v>105</c:v>
                </c:pt>
                <c:pt idx="124">
                  <c:v>100</c:v>
                </c:pt>
                <c:pt idx="125">
                  <c:v>60</c:v>
                </c:pt>
                <c:pt idx="126">
                  <c:v>72</c:v>
                </c:pt>
                <c:pt idx="127">
                  <c:v>30</c:v>
                </c:pt>
                <c:pt idx="128">
                  <c:v>31</c:v>
                </c:pt>
                <c:pt idx="129">
                  <c:v>117</c:v>
                </c:pt>
                <c:pt idx="130">
                  <c:v>118</c:v>
                </c:pt>
                <c:pt idx="131">
                  <c:v>82</c:v>
                </c:pt>
                <c:pt idx="132">
                  <c:v>71</c:v>
                </c:pt>
                <c:pt idx="133">
                  <c:v>84</c:v>
                </c:pt>
                <c:pt idx="134">
                  <c:v>32</c:v>
                </c:pt>
                <c:pt idx="135">
                  <c:v>25</c:v>
                </c:pt>
                <c:pt idx="136">
                  <c:v>133</c:v>
                </c:pt>
                <c:pt idx="137">
                  <c:v>91</c:v>
                </c:pt>
                <c:pt idx="138">
                  <c:v>64</c:v>
                </c:pt>
                <c:pt idx="139">
                  <c:v>70</c:v>
                </c:pt>
                <c:pt idx="140">
                  <c:v>51</c:v>
                </c:pt>
                <c:pt idx="141">
                  <c:v>22</c:v>
                </c:pt>
                <c:pt idx="142">
                  <c:v>27</c:v>
                </c:pt>
                <c:pt idx="143">
                  <c:v>90</c:v>
                </c:pt>
                <c:pt idx="144">
                  <c:v>75</c:v>
                </c:pt>
                <c:pt idx="145">
                  <c:v>69</c:v>
                </c:pt>
                <c:pt idx="146">
                  <c:v>41</c:v>
                </c:pt>
                <c:pt idx="147">
                  <c:v>30</c:v>
                </c:pt>
                <c:pt idx="148">
                  <c:v>24</c:v>
                </c:pt>
                <c:pt idx="149">
                  <c:v>11</c:v>
                </c:pt>
                <c:pt idx="150">
                  <c:v>67</c:v>
                </c:pt>
                <c:pt idx="151">
                  <c:v>39</c:v>
                </c:pt>
                <c:pt idx="152">
                  <c:v>40</c:v>
                </c:pt>
                <c:pt idx="153">
                  <c:v>34</c:v>
                </c:pt>
                <c:pt idx="154">
                  <c:v>26</c:v>
                </c:pt>
                <c:pt idx="155">
                  <c:v>11</c:v>
                </c:pt>
                <c:pt idx="156">
                  <c:v>12</c:v>
                </c:pt>
                <c:pt idx="157">
                  <c:v>43</c:v>
                </c:pt>
                <c:pt idx="158">
                  <c:v>32</c:v>
                </c:pt>
                <c:pt idx="159">
                  <c:v>25</c:v>
                </c:pt>
                <c:pt idx="160" formatCode="General">
                  <c:v>21</c:v>
                </c:pt>
                <c:pt idx="161" formatCode="General">
                  <c:v>16</c:v>
                </c:pt>
                <c:pt idx="162" formatCode="General">
                  <c:v>12</c:v>
                </c:pt>
                <c:pt idx="163" formatCode="General">
                  <c:v>5</c:v>
                </c:pt>
                <c:pt idx="164" formatCode="General">
                  <c:v>46</c:v>
                </c:pt>
                <c:pt idx="165" formatCode="General">
                  <c:v>29</c:v>
                </c:pt>
                <c:pt idx="166" formatCode="General">
                  <c:v>30</c:v>
                </c:pt>
                <c:pt idx="167" formatCode="General">
                  <c:v>16</c:v>
                </c:pt>
                <c:pt idx="168" formatCode="General">
                  <c:v>29</c:v>
                </c:pt>
                <c:pt idx="169" formatCode="General">
                  <c:v>6</c:v>
                </c:pt>
                <c:pt idx="170" formatCode="General">
                  <c:v>8</c:v>
                </c:pt>
                <c:pt idx="171" formatCode="General">
                  <c:v>43</c:v>
                </c:pt>
                <c:pt idx="172" formatCode="General">
                  <c:v>25</c:v>
                </c:pt>
                <c:pt idx="173" formatCode="General">
                  <c:v>21</c:v>
                </c:pt>
                <c:pt idx="174" formatCode="General">
                  <c:v>20</c:v>
                </c:pt>
                <c:pt idx="175" formatCode="General">
                  <c:v>28</c:v>
                </c:pt>
                <c:pt idx="176" formatCode="General">
                  <c:v>4</c:v>
                </c:pt>
                <c:pt idx="177" formatCode="General">
                  <c:v>4</c:v>
                </c:pt>
                <c:pt idx="178" formatCode="General">
                  <c:v>42</c:v>
                </c:pt>
                <c:pt idx="179" formatCode="General">
                  <c:v>48</c:v>
                </c:pt>
                <c:pt idx="180" formatCode="General">
                  <c:v>21</c:v>
                </c:pt>
                <c:pt idx="181" formatCode="General">
                  <c:v>14</c:v>
                </c:pt>
                <c:pt idx="182" formatCode="General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5">
                  <c:v>0.41781269999999998</c:v>
                </c:pt>
                <c:pt idx="36">
                  <c:v>0.9748964</c:v>
                </c:pt>
                <c:pt idx="37">
                  <c:v>1.671251</c:v>
                </c:pt>
                <c:pt idx="38">
                  <c:v>3.6210437999999998</c:v>
                </c:pt>
                <c:pt idx="39">
                  <c:v>12.9521952</c:v>
                </c:pt>
                <c:pt idx="40">
                  <c:v>63.089725199999997</c:v>
                </c:pt>
                <c:pt idx="41">
                  <c:v>128.82559789999999</c:v>
                </c:pt>
                <c:pt idx="42">
                  <c:v>182.02708809999999</c:v>
                </c:pt>
                <c:pt idx="43">
                  <c:v>288.7086104</c:v>
                </c:pt>
                <c:pt idx="44">
                  <c:v>259.60098879999998</c:v>
                </c:pt>
                <c:pt idx="45">
                  <c:v>191.4975105</c:v>
                </c:pt>
                <c:pt idx="46">
                  <c:v>123.8118449</c:v>
                </c:pt>
                <c:pt idx="47">
                  <c:v>85.651613800000007</c:v>
                </c:pt>
                <c:pt idx="48">
                  <c:v>65.735872700000002</c:v>
                </c:pt>
                <c:pt idx="49">
                  <c:v>69.078374699999998</c:v>
                </c:pt>
                <c:pt idx="50">
                  <c:v>68.242749200000006</c:v>
                </c:pt>
                <c:pt idx="51">
                  <c:v>83.701820900000001</c:v>
                </c:pt>
                <c:pt idx="52">
                  <c:v>98.4645380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33.146478100000003</c:v>
                </c:pt>
                <c:pt idx="1">
                  <c:v>130.07903619999999</c:v>
                </c:pt>
                <c:pt idx="2">
                  <c:v>95.539848800000001</c:v>
                </c:pt>
                <c:pt idx="3">
                  <c:v>70.610354700000002</c:v>
                </c:pt>
                <c:pt idx="4">
                  <c:v>50.833884599999998</c:v>
                </c:pt>
                <c:pt idx="5">
                  <c:v>52.087322800000003</c:v>
                </c:pt>
                <c:pt idx="6">
                  <c:v>34.539187300000002</c:v>
                </c:pt>
                <c:pt idx="7">
                  <c:v>35.931896500000001</c:v>
                </c:pt>
                <c:pt idx="8">
                  <c:v>39.552940300000003</c:v>
                </c:pt>
                <c:pt idx="9">
                  <c:v>38.717314799999997</c:v>
                </c:pt>
                <c:pt idx="10">
                  <c:v>30.639601599999999</c:v>
                </c:pt>
                <c:pt idx="11">
                  <c:v>21.865533899999999</c:v>
                </c:pt>
                <c:pt idx="12">
                  <c:v>14.6234462</c:v>
                </c:pt>
                <c:pt idx="13">
                  <c:v>11.698757000000001</c:v>
                </c:pt>
                <c:pt idx="14">
                  <c:v>11.002402399999999</c:v>
                </c:pt>
                <c:pt idx="15">
                  <c:v>6.1279203000000004</c:v>
                </c:pt>
                <c:pt idx="16">
                  <c:v>4.8744820000000004</c:v>
                </c:pt>
                <c:pt idx="17">
                  <c:v>4.4566692999999997</c:v>
                </c:pt>
                <c:pt idx="18">
                  <c:v>2.5068765000000002</c:v>
                </c:pt>
                <c:pt idx="19">
                  <c:v>1.671251</c:v>
                </c:pt>
                <c:pt idx="20">
                  <c:v>2.5068765000000002</c:v>
                </c:pt>
                <c:pt idx="21">
                  <c:v>0.83562550000000002</c:v>
                </c:pt>
                <c:pt idx="22">
                  <c:v>0.41781269999999998</c:v>
                </c:pt>
                <c:pt idx="23">
                  <c:v>0</c:v>
                </c:pt>
                <c:pt idx="24">
                  <c:v>0</c:v>
                </c:pt>
                <c:pt idx="25">
                  <c:v>0.27854180000000001</c:v>
                </c:pt>
                <c:pt idx="26">
                  <c:v>0.27854180000000001</c:v>
                </c:pt>
                <c:pt idx="27">
                  <c:v>0.27854180000000001</c:v>
                </c:pt>
                <c:pt idx="28">
                  <c:v>0.1392709</c:v>
                </c:pt>
                <c:pt idx="29">
                  <c:v>0.1392709</c:v>
                </c:pt>
                <c:pt idx="30">
                  <c:v>0.41781269999999998</c:v>
                </c:pt>
                <c:pt idx="31">
                  <c:v>0</c:v>
                </c:pt>
                <c:pt idx="32">
                  <c:v>0.27854180000000001</c:v>
                </c:pt>
                <c:pt idx="33">
                  <c:v>0.1392709</c:v>
                </c:pt>
                <c:pt idx="34">
                  <c:v>0.41781269999999998</c:v>
                </c:pt>
                <c:pt idx="35">
                  <c:v>1.2534381999999999</c:v>
                </c:pt>
                <c:pt idx="36">
                  <c:v>0.83562550000000002</c:v>
                </c:pt>
                <c:pt idx="37">
                  <c:v>0.27854180000000001</c:v>
                </c:pt>
                <c:pt idx="38">
                  <c:v>1.5319799999999999</c:v>
                </c:pt>
                <c:pt idx="39">
                  <c:v>2.3676054999999998</c:v>
                </c:pt>
                <c:pt idx="40">
                  <c:v>1.9497928</c:v>
                </c:pt>
                <c:pt idx="41">
                  <c:v>2.3676054999999998</c:v>
                </c:pt>
                <c:pt idx="42">
                  <c:v>7.3813585000000002</c:v>
                </c:pt>
                <c:pt idx="43">
                  <c:v>8.2169840000000001</c:v>
                </c:pt>
                <c:pt idx="44">
                  <c:v>20.7513665</c:v>
                </c:pt>
                <c:pt idx="45">
                  <c:v>28.689808800000002</c:v>
                </c:pt>
                <c:pt idx="46">
                  <c:v>33.146478100000003</c:v>
                </c:pt>
                <c:pt idx="47">
                  <c:v>39.970753100000003</c:v>
                </c:pt>
                <c:pt idx="48">
                  <c:v>31.753768999999998</c:v>
                </c:pt>
                <c:pt idx="49">
                  <c:v>27.714912399999999</c:v>
                </c:pt>
                <c:pt idx="50">
                  <c:v>21.586991999999999</c:v>
                </c:pt>
                <c:pt idx="51">
                  <c:v>11.141673300000001</c:v>
                </c:pt>
                <c:pt idx="52">
                  <c:v>8.4955259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6.02</c:v>
                </c:pt>
                <c:pt idx="9">
                  <c:v>27.02 - 05.03</c:v>
                </c:pt>
                <c:pt idx="10">
                  <c:v>06.03 - 12.03</c:v>
                </c:pt>
                <c:pt idx="11">
                  <c:v>13.03 - 19.03</c:v>
                </c:pt>
                <c:pt idx="12">
                  <c:v>20.03 - 26.03</c:v>
                </c:pt>
                <c:pt idx="13">
                  <c:v>27.03 - 02.04</c:v>
                </c:pt>
                <c:pt idx="14">
                  <c:v>03.04 - 09.04</c:v>
                </c:pt>
                <c:pt idx="15">
                  <c:v>10.04 - 16.04</c:v>
                </c:pt>
                <c:pt idx="16">
                  <c:v>17.04 - 23.04</c:v>
                </c:pt>
                <c:pt idx="17">
                  <c:v>24.04 - 30.04</c:v>
                </c:pt>
                <c:pt idx="18">
                  <c:v>01.05 - 07.05</c:v>
                </c:pt>
                <c:pt idx="19">
                  <c:v>08.05 - 14.05</c:v>
                </c:pt>
                <c:pt idx="20">
                  <c:v>15.05 - 21.05</c:v>
                </c:pt>
                <c:pt idx="21">
                  <c:v>22.05 - 28.05</c:v>
                </c:pt>
                <c:pt idx="22">
                  <c:v>29.05 - 04.06</c:v>
                </c:pt>
                <c:pt idx="23">
                  <c:v>05.06 - 11.06</c:v>
                </c:pt>
                <c:pt idx="24">
                  <c:v>12.06 - 18.06</c:v>
                </c:pt>
                <c:pt idx="25">
                  <c:v>19.06 - 25.06</c:v>
                </c:pt>
                <c:pt idx="26">
                  <c:v>26.06 - 02.07</c:v>
                </c:pt>
                <c:pt idx="27">
                  <c:v>03.07 - 09.07</c:v>
                </c:pt>
                <c:pt idx="28">
                  <c:v>10.07 - 16.07</c:v>
                </c:pt>
                <c:pt idx="29">
                  <c:v>17.07 - 23.07</c:v>
                </c:pt>
                <c:pt idx="30">
                  <c:v>24.07 - 30.07</c:v>
                </c:pt>
                <c:pt idx="31">
                  <c:v>31.07 - 06.08</c:v>
                </c:pt>
                <c:pt idx="32">
                  <c:v>07.08 - 13.08</c:v>
                </c:pt>
                <c:pt idx="33">
                  <c:v>14.08 - 20.08</c:v>
                </c:pt>
                <c:pt idx="34">
                  <c:v>21.08 - 27.08</c:v>
                </c:pt>
                <c:pt idx="35">
                  <c:v>28.08 - 03.09</c:v>
                </c:pt>
                <c:pt idx="36">
                  <c:v>04.09 - 10.09</c:v>
                </c:pt>
                <c:pt idx="37">
                  <c:v>11.09 - 17.09</c:v>
                </c:pt>
                <c:pt idx="38">
                  <c:v>18.09 - 24.09</c:v>
                </c:pt>
                <c:pt idx="39">
                  <c:v>25.09 - 01.10</c:v>
                </c:pt>
                <c:pt idx="40">
                  <c:v>02.10 - 08.10</c:v>
                </c:pt>
                <c:pt idx="41">
                  <c:v>09.10 - 15.10</c:v>
                </c:pt>
                <c:pt idx="42">
                  <c:v>16.10 - 22.10</c:v>
                </c:pt>
                <c:pt idx="43">
                  <c:v>23.10 - 29.10</c:v>
                </c:pt>
                <c:pt idx="44">
                  <c:v>30.10 - 05.11</c:v>
                </c:pt>
                <c:pt idx="45">
                  <c:v>06.11 - 12.11</c:v>
                </c:pt>
                <c:pt idx="46">
                  <c:v>13.11 - 19.11</c:v>
                </c:pt>
                <c:pt idx="47">
                  <c:v>20.11 - 26.11</c:v>
                </c:pt>
                <c:pt idx="48">
                  <c:v>27.11 - 03.12</c:v>
                </c:pt>
                <c:pt idx="49">
                  <c:v>04.12 - 10.12</c:v>
                </c:pt>
                <c:pt idx="50">
                  <c:v>11.12 - 17.12</c:v>
                </c:pt>
                <c:pt idx="51">
                  <c:v>18.12 - 24.12</c:v>
                </c:pt>
                <c:pt idx="52">
                  <c:v>25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0.9748964</c:v>
                </c:pt>
                <c:pt idx="1">
                  <c:v>9.3311513999999995</c:v>
                </c:pt>
                <c:pt idx="2">
                  <c:v>10.1667769</c:v>
                </c:pt>
                <c:pt idx="3">
                  <c:v>38.299502099999998</c:v>
                </c:pt>
                <c:pt idx="4">
                  <c:v>66.710769099999993</c:v>
                </c:pt>
                <c:pt idx="5">
                  <c:v>74.509940400000005</c:v>
                </c:pt>
                <c:pt idx="6">
                  <c:v>63.507537999999997</c:v>
                </c:pt>
                <c:pt idx="7">
                  <c:v>49.580446299999998</c:v>
                </c:pt>
                <c:pt idx="8">
                  <c:v>31.753768999999998</c:v>
                </c:pt>
                <c:pt idx="9">
                  <c:v>22.422617500000001</c:v>
                </c:pt>
                <c:pt idx="10">
                  <c:v>22.422617500000001</c:v>
                </c:pt>
                <c:pt idx="11">
                  <c:v>20.7513665</c:v>
                </c:pt>
                <c:pt idx="12">
                  <c:v>20.055012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5.205089999999998</c:v>
                </c:pt>
                <c:pt idx="1">
                  <c:v>61.75638</c:v>
                </c:pt>
                <c:pt idx="2">
                  <c:v>56.684719999999999</c:v>
                </c:pt>
                <c:pt idx="3">
                  <c:v>56.381709999999998</c:v>
                </c:pt>
                <c:pt idx="4">
                  <c:v>54.513460000000002</c:v>
                </c:pt>
                <c:pt idx="5">
                  <c:v>57.294249999999998</c:v>
                </c:pt>
                <c:pt idx="6">
                  <c:v>67.261120000000005</c:v>
                </c:pt>
                <c:pt idx="7">
                  <c:v>51.392919999999997</c:v>
                </c:pt>
                <c:pt idx="8">
                  <c:v>57.915869999999998</c:v>
                </c:pt>
                <c:pt idx="9">
                  <c:v>56.827069999999999</c:v>
                </c:pt>
                <c:pt idx="10">
                  <c:v>62.69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2.56765</c:v>
                </c:pt>
                <c:pt idx="1">
                  <c:v>21.643750000000001</c:v>
                </c:pt>
                <c:pt idx="2">
                  <c:v>24.01202</c:v>
                </c:pt>
                <c:pt idx="3">
                  <c:v>22.922360000000001</c:v>
                </c:pt>
                <c:pt idx="4">
                  <c:v>25.233149999999998</c:v>
                </c:pt>
                <c:pt idx="5">
                  <c:v>24.497219999999999</c:v>
                </c:pt>
                <c:pt idx="6">
                  <c:v>19.26464</c:v>
                </c:pt>
                <c:pt idx="7">
                  <c:v>24.620850000000001</c:v>
                </c:pt>
                <c:pt idx="8">
                  <c:v>24.20365</c:v>
                </c:pt>
                <c:pt idx="9">
                  <c:v>24.263559999999998</c:v>
                </c:pt>
                <c:pt idx="10">
                  <c:v>20.62172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4803889999999998</c:v>
                </c:pt>
                <c:pt idx="1">
                  <c:v>0.56792279999999995</c:v>
                </c:pt>
                <c:pt idx="2">
                  <c:v>0.5622412</c:v>
                </c:pt>
                <c:pt idx="3">
                  <c:v>0.59511309999999995</c:v>
                </c:pt>
                <c:pt idx="4">
                  <c:v>0.79183530000000002</c:v>
                </c:pt>
                <c:pt idx="5">
                  <c:v>0.59173889999999996</c:v>
                </c:pt>
                <c:pt idx="6">
                  <c:v>0.50638490000000003</c:v>
                </c:pt>
                <c:pt idx="7">
                  <c:v>0.55932020000000005</c:v>
                </c:pt>
                <c:pt idx="8">
                  <c:v>0.5853526</c:v>
                </c:pt>
                <c:pt idx="9">
                  <c:v>0.45718059999999999</c:v>
                </c:pt>
                <c:pt idx="10">
                  <c:v>0.519842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4191959999999999</c:v>
                </c:pt>
                <c:pt idx="1">
                  <c:v>9.7999919999999996</c:v>
                </c:pt>
                <c:pt idx="2">
                  <c:v>10.538779999999999</c:v>
                </c:pt>
                <c:pt idx="3">
                  <c:v>10.207940000000001</c:v>
                </c:pt>
                <c:pt idx="4">
                  <c:v>11.84234</c:v>
                </c:pt>
                <c:pt idx="5">
                  <c:v>10.341889999999999</c:v>
                </c:pt>
                <c:pt idx="6">
                  <c:v>7.5077059999999998</c:v>
                </c:pt>
                <c:pt idx="7">
                  <c:v>12.72453</c:v>
                </c:pt>
                <c:pt idx="8">
                  <c:v>10.54996</c:v>
                </c:pt>
                <c:pt idx="9">
                  <c:v>9.9637080000000005</c:v>
                </c:pt>
                <c:pt idx="10">
                  <c:v>8.738943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4600229999999996</c:v>
                </c:pt>
                <c:pt idx="1">
                  <c:v>6.2319560000000003</c:v>
                </c:pt>
                <c:pt idx="2">
                  <c:v>8.2022340000000007</c:v>
                </c:pt>
                <c:pt idx="3">
                  <c:v>9.8928799999999999</c:v>
                </c:pt>
                <c:pt idx="4">
                  <c:v>7.6192149999999996</c:v>
                </c:pt>
                <c:pt idx="5">
                  <c:v>7.2749069999999998</c:v>
                </c:pt>
                <c:pt idx="6">
                  <c:v>5.4601499999999996</c:v>
                </c:pt>
                <c:pt idx="7">
                  <c:v>10.70238</c:v>
                </c:pt>
                <c:pt idx="8">
                  <c:v>6.7451670000000004</c:v>
                </c:pt>
                <c:pt idx="9">
                  <c:v>8.4884760000000004</c:v>
                </c:pt>
                <c:pt idx="10">
                  <c:v>7.426542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461299999999994</c:v>
                </c:pt>
                <c:pt idx="2">
                  <c:v>90.166409999999999</c:v>
                </c:pt>
                <c:pt idx="3">
                  <c:v>90.120660000000001</c:v>
                </c:pt>
                <c:pt idx="4">
                  <c:v>90.055899999999994</c:v>
                </c:pt>
                <c:pt idx="5">
                  <c:v>89.646829999999994</c:v>
                </c:pt>
                <c:pt idx="6">
                  <c:v>89.134619999999998</c:v>
                </c:pt>
                <c:pt idx="7">
                  <c:v>89.119169999999997</c:v>
                </c:pt>
                <c:pt idx="8">
                  <c:v>89.02422</c:v>
                </c:pt>
                <c:pt idx="9">
                  <c:v>88.023030000000006</c:v>
                </c:pt>
                <c:pt idx="10">
                  <c:v>87.272729999999996</c:v>
                </c:pt>
                <c:pt idx="11">
                  <c:v>85.214010000000002</c:v>
                </c:pt>
                <c:pt idx="12">
                  <c:v>84.966139999999996</c:v>
                </c:pt>
                <c:pt idx="13">
                  <c:v>84.463059999999999</c:v>
                </c:pt>
                <c:pt idx="14">
                  <c:v>84.3356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605329999999995</c:v>
                </c:pt>
                <c:pt idx="1">
                  <c:v>88.340310000000002</c:v>
                </c:pt>
                <c:pt idx="2">
                  <c:v>87.908209999999997</c:v>
                </c:pt>
                <c:pt idx="3">
                  <c:v>87.532049999999998</c:v>
                </c:pt>
                <c:pt idx="4">
                  <c:v>86.500249999999994</c:v>
                </c:pt>
                <c:pt idx="5">
                  <c:v>86.28586</c:v>
                </c:pt>
                <c:pt idx="6">
                  <c:v>85.458299999999994</c:v>
                </c:pt>
                <c:pt idx="7">
                  <c:v>84.769589999999994</c:v>
                </c:pt>
                <c:pt idx="8">
                  <c:v>84.650670000000005</c:v>
                </c:pt>
                <c:pt idx="9">
                  <c:v>84.284329999999997</c:v>
                </c:pt>
                <c:pt idx="10">
                  <c:v>83.403720000000007</c:v>
                </c:pt>
                <c:pt idx="11">
                  <c:v>81.569469999999995</c:v>
                </c:pt>
                <c:pt idx="12">
                  <c:v>79.352699999999999</c:v>
                </c:pt>
                <c:pt idx="13">
                  <c:v>79.336439999999996</c:v>
                </c:pt>
                <c:pt idx="14">
                  <c:v>78.08656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15 Nutriční terapeut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6433</c:v>
                </c:pt>
                <c:pt idx="1">
                  <c:v>3119</c:v>
                </c:pt>
                <c:pt idx="2">
                  <c:v>2518</c:v>
                </c:pt>
                <c:pt idx="3">
                  <c:v>2356</c:v>
                </c:pt>
                <c:pt idx="4">
                  <c:v>2065</c:v>
                </c:pt>
                <c:pt idx="5">
                  <c:v>1386</c:v>
                </c:pt>
                <c:pt idx="6">
                  <c:v>1257</c:v>
                </c:pt>
                <c:pt idx="7">
                  <c:v>1095</c:v>
                </c:pt>
                <c:pt idx="8">
                  <c:v>974</c:v>
                </c:pt>
                <c:pt idx="9">
                  <c:v>953</c:v>
                </c:pt>
                <c:pt idx="10">
                  <c:v>751</c:v>
                </c:pt>
                <c:pt idx="11">
                  <c:v>589</c:v>
                </c:pt>
                <c:pt idx="12">
                  <c:v>489</c:v>
                </c:pt>
                <c:pt idx="13">
                  <c:v>485</c:v>
                </c:pt>
                <c:pt idx="14">
                  <c:v>441</c:v>
                </c:pt>
                <c:pt idx="15">
                  <c:v>334</c:v>
                </c:pt>
                <c:pt idx="16">
                  <c:v>280</c:v>
                </c:pt>
                <c:pt idx="17">
                  <c:v>276</c:v>
                </c:pt>
                <c:pt idx="18">
                  <c:v>274</c:v>
                </c:pt>
                <c:pt idx="19">
                  <c:v>253</c:v>
                </c:pt>
                <c:pt idx="20">
                  <c:v>246</c:v>
                </c:pt>
                <c:pt idx="21">
                  <c:v>233</c:v>
                </c:pt>
                <c:pt idx="22">
                  <c:v>129</c:v>
                </c:pt>
                <c:pt idx="23">
                  <c:v>75</c:v>
                </c:pt>
                <c:pt idx="24">
                  <c:v>71</c:v>
                </c:pt>
                <c:pt idx="25">
                  <c:v>67</c:v>
                </c:pt>
                <c:pt idx="26">
                  <c:v>51</c:v>
                </c:pt>
                <c:pt idx="27">
                  <c:v>43</c:v>
                </c:pt>
                <c:pt idx="28">
                  <c:v>37</c:v>
                </c:pt>
                <c:pt idx="29">
                  <c:v>28</c:v>
                </c:pt>
                <c:pt idx="30">
                  <c:v>23</c:v>
                </c:pt>
                <c:pt idx="31">
                  <c:v>14</c:v>
                </c:pt>
                <c:pt idx="32">
                  <c:v>14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7 Ergoterapeu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33 Asistent zubního technika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31 Ortoticko-protetický technik</c:v>
                </c:pt>
                <c:pt idx="33">
                  <c:v>§ 21 Radiologický technik</c:v>
                </c:pt>
                <c:pt idx="34">
                  <c:v>§ 41 Autoptický laborant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999</c:v>
                </c:pt>
                <c:pt idx="1">
                  <c:v>2186</c:v>
                </c:pt>
                <c:pt idx="2">
                  <c:v>1721</c:v>
                </c:pt>
                <c:pt idx="3">
                  <c:v>1709</c:v>
                </c:pt>
                <c:pt idx="4">
                  <c:v>1398</c:v>
                </c:pt>
                <c:pt idx="5">
                  <c:v>877</c:v>
                </c:pt>
                <c:pt idx="6">
                  <c:v>841</c:v>
                </c:pt>
                <c:pt idx="7">
                  <c:v>745</c:v>
                </c:pt>
                <c:pt idx="8">
                  <c:v>742</c:v>
                </c:pt>
                <c:pt idx="9">
                  <c:v>662</c:v>
                </c:pt>
                <c:pt idx="10">
                  <c:v>489</c:v>
                </c:pt>
                <c:pt idx="11">
                  <c:v>377</c:v>
                </c:pt>
                <c:pt idx="12">
                  <c:v>374</c:v>
                </c:pt>
                <c:pt idx="13">
                  <c:v>311</c:v>
                </c:pt>
                <c:pt idx="14">
                  <c:v>310</c:v>
                </c:pt>
                <c:pt idx="15">
                  <c:v>213</c:v>
                </c:pt>
                <c:pt idx="16">
                  <c:v>206</c:v>
                </c:pt>
                <c:pt idx="17">
                  <c:v>193</c:v>
                </c:pt>
                <c:pt idx="18">
                  <c:v>190</c:v>
                </c:pt>
                <c:pt idx="19">
                  <c:v>180</c:v>
                </c:pt>
                <c:pt idx="20">
                  <c:v>166</c:v>
                </c:pt>
                <c:pt idx="21">
                  <c:v>166</c:v>
                </c:pt>
                <c:pt idx="22">
                  <c:v>94</c:v>
                </c:pt>
                <c:pt idx="23">
                  <c:v>52</c:v>
                </c:pt>
                <c:pt idx="24">
                  <c:v>50</c:v>
                </c:pt>
                <c:pt idx="25">
                  <c:v>48</c:v>
                </c:pt>
                <c:pt idx="26">
                  <c:v>39</c:v>
                </c:pt>
                <c:pt idx="27">
                  <c:v>38</c:v>
                </c:pt>
                <c:pt idx="28">
                  <c:v>25</c:v>
                </c:pt>
                <c:pt idx="29">
                  <c:v>20</c:v>
                </c:pt>
                <c:pt idx="30">
                  <c:v>17</c:v>
                </c:pt>
                <c:pt idx="31">
                  <c:v>8</c:v>
                </c:pt>
                <c:pt idx="32">
                  <c:v>7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26 Odborný pracovník v laboratorních metodách a v přípravě léčivých přípravků</c:v>
                </c:pt>
                <c:pt idx="8">
                  <c:v>§ 39 Zubní instrumentářka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35 Řidič vozidla zdravotnické záchranné služby</c:v>
                </c:pt>
                <c:pt idx="14">
                  <c:v>§ 17 Dentální hygienistka</c:v>
                </c:pt>
                <c:pt idx="15">
                  <c:v>§ 7 Ergoterapeut</c:v>
                </c:pt>
                <c:pt idx="16">
                  <c:v>§ 37 Masér ve zdravotnictví, nevidomý a slabozraký masér ve zdravotnictví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30 Laboratorní asistent</c:v>
                </c:pt>
                <c:pt idx="20">
                  <c:v>§ 11 Optometrista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28 Odborný pracovník v ochraně a podpoře veřejného zdraví</c:v>
                </c:pt>
                <c:pt idx="24">
                  <c:v>§ 21a Adiktolog</c:v>
                </c:pt>
                <c:pt idx="25">
                  <c:v>§ 33 Asistent zubního technika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2720</c:v>
                </c:pt>
                <c:pt idx="1">
                  <c:v>1450</c:v>
                </c:pt>
                <c:pt idx="2">
                  <c:v>1150</c:v>
                </c:pt>
                <c:pt idx="3">
                  <c:v>1086</c:v>
                </c:pt>
                <c:pt idx="4">
                  <c:v>912</c:v>
                </c:pt>
                <c:pt idx="5">
                  <c:v>627</c:v>
                </c:pt>
                <c:pt idx="6">
                  <c:v>541</c:v>
                </c:pt>
                <c:pt idx="7">
                  <c:v>515</c:v>
                </c:pt>
                <c:pt idx="8">
                  <c:v>474</c:v>
                </c:pt>
                <c:pt idx="9">
                  <c:v>467</c:v>
                </c:pt>
                <c:pt idx="10">
                  <c:v>309</c:v>
                </c:pt>
                <c:pt idx="11">
                  <c:v>281</c:v>
                </c:pt>
                <c:pt idx="12">
                  <c:v>242</c:v>
                </c:pt>
                <c:pt idx="13">
                  <c:v>218</c:v>
                </c:pt>
                <c:pt idx="14">
                  <c:v>213</c:v>
                </c:pt>
                <c:pt idx="15">
                  <c:v>142</c:v>
                </c:pt>
                <c:pt idx="16">
                  <c:v>132</c:v>
                </c:pt>
                <c:pt idx="17">
                  <c:v>121</c:v>
                </c:pt>
                <c:pt idx="18">
                  <c:v>119</c:v>
                </c:pt>
                <c:pt idx="19">
                  <c:v>119</c:v>
                </c:pt>
                <c:pt idx="20">
                  <c:v>115</c:v>
                </c:pt>
                <c:pt idx="21">
                  <c:v>113</c:v>
                </c:pt>
                <c:pt idx="22">
                  <c:v>63</c:v>
                </c:pt>
                <c:pt idx="23">
                  <c:v>39</c:v>
                </c:pt>
                <c:pt idx="24">
                  <c:v>31</c:v>
                </c:pt>
                <c:pt idx="25">
                  <c:v>31</c:v>
                </c:pt>
                <c:pt idx="26">
                  <c:v>30</c:v>
                </c:pt>
                <c:pt idx="27">
                  <c:v>26</c:v>
                </c:pt>
                <c:pt idx="28">
                  <c:v>19</c:v>
                </c:pt>
                <c:pt idx="29">
                  <c:v>15</c:v>
                </c:pt>
                <c:pt idx="30">
                  <c:v>12</c:v>
                </c:pt>
                <c:pt idx="31">
                  <c:v>6</c:v>
                </c:pt>
                <c:pt idx="32">
                  <c:v>5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6</c:v>
                </c:pt>
                <c:pt idx="4">
                  <c:v>4</c:v>
                </c:pt>
                <c:pt idx="5">
                  <c:v>3</c:v>
                </c:pt>
                <c:pt idx="6">
                  <c:v>9</c:v>
                </c:pt>
                <c:pt idx="7">
                  <c:v>2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1</c:v>
                </c:pt>
                <c:pt idx="16">
                  <c:v>1</c:v>
                </c:pt>
                <c:pt idx="17">
                  <c:v>3</c:v>
                </c:pt>
                <c:pt idx="18">
                  <c:v>10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5</c:v>
                </c:pt>
                <c:pt idx="23">
                  <c:v>8</c:v>
                </c:pt>
                <c:pt idx="24">
                  <c:v>17</c:v>
                </c:pt>
                <c:pt idx="25">
                  <c:v>16</c:v>
                </c:pt>
                <c:pt idx="26">
                  <c:v>13</c:v>
                </c:pt>
                <c:pt idx="27">
                  <c:v>13</c:v>
                </c:pt>
                <c:pt idx="28">
                  <c:v>16</c:v>
                </c:pt>
                <c:pt idx="29">
                  <c:v>13</c:v>
                </c:pt>
                <c:pt idx="30">
                  <c:v>12</c:v>
                </c:pt>
                <c:pt idx="31">
                  <c:v>28</c:v>
                </c:pt>
                <c:pt idx="32">
                  <c:v>20</c:v>
                </c:pt>
                <c:pt idx="33">
                  <c:v>25</c:v>
                </c:pt>
                <c:pt idx="34">
                  <c:v>22</c:v>
                </c:pt>
                <c:pt idx="35">
                  <c:v>36</c:v>
                </c:pt>
                <c:pt idx="36">
                  <c:v>21</c:v>
                </c:pt>
                <c:pt idx="37">
                  <c:v>18</c:v>
                </c:pt>
                <c:pt idx="38">
                  <c:v>55</c:v>
                </c:pt>
                <c:pt idx="39">
                  <c:v>37</c:v>
                </c:pt>
                <c:pt idx="40">
                  <c:v>38</c:v>
                </c:pt>
                <c:pt idx="41">
                  <c:v>27</c:v>
                </c:pt>
                <c:pt idx="42">
                  <c:v>40</c:v>
                </c:pt>
                <c:pt idx="43">
                  <c:v>20</c:v>
                </c:pt>
                <c:pt idx="44">
                  <c:v>18</c:v>
                </c:pt>
                <c:pt idx="45">
                  <c:v>52</c:v>
                </c:pt>
                <c:pt idx="46">
                  <c:v>47</c:v>
                </c:pt>
                <c:pt idx="47">
                  <c:v>47</c:v>
                </c:pt>
                <c:pt idx="48">
                  <c:v>49</c:v>
                </c:pt>
                <c:pt idx="49">
                  <c:v>41</c:v>
                </c:pt>
                <c:pt idx="50">
                  <c:v>48</c:v>
                </c:pt>
                <c:pt idx="51">
                  <c:v>22</c:v>
                </c:pt>
                <c:pt idx="52">
                  <c:v>63</c:v>
                </c:pt>
                <c:pt idx="53">
                  <c:v>56</c:v>
                </c:pt>
                <c:pt idx="54">
                  <c:v>43</c:v>
                </c:pt>
                <c:pt idx="55">
                  <c:v>53</c:v>
                </c:pt>
                <c:pt idx="56">
                  <c:v>77</c:v>
                </c:pt>
                <c:pt idx="57">
                  <c:v>46</c:v>
                </c:pt>
                <c:pt idx="58">
                  <c:v>32</c:v>
                </c:pt>
                <c:pt idx="59">
                  <c:v>61</c:v>
                </c:pt>
                <c:pt idx="60">
                  <c:v>69</c:v>
                </c:pt>
                <c:pt idx="61">
                  <c:v>41</c:v>
                </c:pt>
                <c:pt idx="62">
                  <c:v>66</c:v>
                </c:pt>
                <c:pt idx="63">
                  <c:v>51</c:v>
                </c:pt>
                <c:pt idx="64">
                  <c:v>35</c:v>
                </c:pt>
                <c:pt idx="65">
                  <c:v>38</c:v>
                </c:pt>
                <c:pt idx="66">
                  <c:v>57</c:v>
                </c:pt>
                <c:pt idx="67">
                  <c:v>45</c:v>
                </c:pt>
                <c:pt idx="68">
                  <c:v>56</c:v>
                </c:pt>
                <c:pt idx="69">
                  <c:v>40</c:v>
                </c:pt>
                <c:pt idx="70">
                  <c:v>50</c:v>
                </c:pt>
                <c:pt idx="71">
                  <c:v>24</c:v>
                </c:pt>
                <c:pt idx="72">
                  <c:v>15</c:v>
                </c:pt>
                <c:pt idx="73">
                  <c:v>45</c:v>
                </c:pt>
                <c:pt idx="74">
                  <c:v>40</c:v>
                </c:pt>
                <c:pt idx="75">
                  <c:v>30</c:v>
                </c:pt>
                <c:pt idx="76">
                  <c:v>30</c:v>
                </c:pt>
                <c:pt idx="77">
                  <c:v>33</c:v>
                </c:pt>
                <c:pt idx="78">
                  <c:v>19</c:v>
                </c:pt>
                <c:pt idx="79">
                  <c:v>11</c:v>
                </c:pt>
                <c:pt idx="80">
                  <c:v>28</c:v>
                </c:pt>
                <c:pt idx="81">
                  <c:v>25</c:v>
                </c:pt>
                <c:pt idx="82">
                  <c:v>24</c:v>
                </c:pt>
                <c:pt idx="83">
                  <c:v>16</c:v>
                </c:pt>
                <c:pt idx="84">
                  <c:v>22</c:v>
                </c:pt>
                <c:pt idx="85">
                  <c:v>19</c:v>
                </c:pt>
                <c:pt idx="86">
                  <c:v>15</c:v>
                </c:pt>
                <c:pt idx="87">
                  <c:v>27</c:v>
                </c:pt>
                <c:pt idx="88">
                  <c:v>27</c:v>
                </c:pt>
                <c:pt idx="89">
                  <c:v>21</c:v>
                </c:pt>
                <c:pt idx="90">
                  <c:v>23</c:v>
                </c:pt>
                <c:pt idx="91">
                  <c:v>4</c:v>
                </c:pt>
                <c:pt idx="92">
                  <c:v>11</c:v>
                </c:pt>
                <c:pt idx="93">
                  <c:v>8</c:v>
                </c:pt>
                <c:pt idx="94">
                  <c:v>25</c:v>
                </c:pt>
                <c:pt idx="95">
                  <c:v>32</c:v>
                </c:pt>
                <c:pt idx="96">
                  <c:v>23</c:v>
                </c:pt>
                <c:pt idx="97">
                  <c:v>20</c:v>
                </c:pt>
                <c:pt idx="98">
                  <c:v>19</c:v>
                </c:pt>
                <c:pt idx="99">
                  <c:v>6</c:v>
                </c:pt>
                <c:pt idx="100">
                  <c:v>24</c:v>
                </c:pt>
                <c:pt idx="101">
                  <c:v>33</c:v>
                </c:pt>
                <c:pt idx="102">
                  <c:v>26</c:v>
                </c:pt>
                <c:pt idx="103">
                  <c:v>20</c:v>
                </c:pt>
                <c:pt idx="104">
                  <c:v>25</c:v>
                </c:pt>
                <c:pt idx="105">
                  <c:v>18</c:v>
                </c:pt>
                <c:pt idx="106">
                  <c:v>17</c:v>
                </c:pt>
                <c:pt idx="107">
                  <c:v>13</c:v>
                </c:pt>
                <c:pt idx="108">
                  <c:v>32</c:v>
                </c:pt>
                <c:pt idx="109">
                  <c:v>46</c:v>
                </c:pt>
                <c:pt idx="110">
                  <c:v>70</c:v>
                </c:pt>
                <c:pt idx="111">
                  <c:v>38</c:v>
                </c:pt>
                <c:pt idx="112">
                  <c:v>45</c:v>
                </c:pt>
                <c:pt idx="113">
                  <c:v>31</c:v>
                </c:pt>
                <c:pt idx="114">
                  <c:v>41</c:v>
                </c:pt>
                <c:pt idx="115">
                  <c:v>109</c:v>
                </c:pt>
                <c:pt idx="116">
                  <c:v>86</c:v>
                </c:pt>
                <c:pt idx="117">
                  <c:v>113</c:v>
                </c:pt>
                <c:pt idx="118">
                  <c:v>109</c:v>
                </c:pt>
                <c:pt idx="119">
                  <c:v>88</c:v>
                </c:pt>
                <c:pt idx="120">
                  <c:v>57</c:v>
                </c:pt>
                <c:pt idx="121">
                  <c:v>70</c:v>
                </c:pt>
                <c:pt idx="122">
                  <c:v>175</c:v>
                </c:pt>
                <c:pt idx="123">
                  <c:v>155</c:v>
                </c:pt>
                <c:pt idx="124">
                  <c:v>167</c:v>
                </c:pt>
                <c:pt idx="125">
                  <c:v>121</c:v>
                </c:pt>
                <c:pt idx="126">
                  <c:v>149</c:v>
                </c:pt>
                <c:pt idx="127">
                  <c:v>58</c:v>
                </c:pt>
                <c:pt idx="128">
                  <c:v>100</c:v>
                </c:pt>
                <c:pt idx="129">
                  <c:v>166</c:v>
                </c:pt>
                <c:pt idx="130">
                  <c:v>191</c:v>
                </c:pt>
                <c:pt idx="131">
                  <c:v>144</c:v>
                </c:pt>
                <c:pt idx="132">
                  <c:v>123</c:v>
                </c:pt>
                <c:pt idx="133">
                  <c:v>113</c:v>
                </c:pt>
                <c:pt idx="134">
                  <c:v>74</c:v>
                </c:pt>
                <c:pt idx="135">
                  <c:v>51</c:v>
                </c:pt>
                <c:pt idx="136">
                  <c:v>124</c:v>
                </c:pt>
                <c:pt idx="137">
                  <c:v>113</c:v>
                </c:pt>
                <c:pt idx="138">
                  <c:v>91</c:v>
                </c:pt>
                <c:pt idx="139">
                  <c:v>89</c:v>
                </c:pt>
                <c:pt idx="140">
                  <c:v>88</c:v>
                </c:pt>
                <c:pt idx="141">
                  <c:v>42</c:v>
                </c:pt>
                <c:pt idx="142">
                  <c:v>39</c:v>
                </c:pt>
                <c:pt idx="143">
                  <c:v>126</c:v>
                </c:pt>
                <c:pt idx="144">
                  <c:v>81</c:v>
                </c:pt>
                <c:pt idx="145">
                  <c:v>77</c:v>
                </c:pt>
                <c:pt idx="146">
                  <c:v>60</c:v>
                </c:pt>
                <c:pt idx="147">
                  <c:v>60</c:v>
                </c:pt>
                <c:pt idx="148">
                  <c:v>37</c:v>
                </c:pt>
                <c:pt idx="149">
                  <c:v>33</c:v>
                </c:pt>
                <c:pt idx="150">
                  <c:v>66</c:v>
                </c:pt>
                <c:pt idx="151">
                  <c:v>51</c:v>
                </c:pt>
                <c:pt idx="152">
                  <c:v>49</c:v>
                </c:pt>
                <c:pt idx="153">
                  <c:v>44</c:v>
                </c:pt>
                <c:pt idx="154">
                  <c:v>37</c:v>
                </c:pt>
                <c:pt idx="155">
                  <c:v>28</c:v>
                </c:pt>
                <c:pt idx="156">
                  <c:v>31</c:v>
                </c:pt>
                <c:pt idx="157">
                  <c:v>67</c:v>
                </c:pt>
                <c:pt idx="158">
                  <c:v>42</c:v>
                </c:pt>
                <c:pt idx="159">
                  <c:v>54</c:v>
                </c:pt>
                <c:pt idx="160">
                  <c:v>41</c:v>
                </c:pt>
                <c:pt idx="161">
                  <c:v>39</c:v>
                </c:pt>
                <c:pt idx="162">
                  <c:v>28</c:v>
                </c:pt>
                <c:pt idx="163">
                  <c:v>23</c:v>
                </c:pt>
                <c:pt idx="164">
                  <c:v>75</c:v>
                </c:pt>
                <c:pt idx="165">
                  <c:v>59</c:v>
                </c:pt>
                <c:pt idx="166">
                  <c:v>51</c:v>
                </c:pt>
                <c:pt idx="167">
                  <c:v>43</c:v>
                </c:pt>
                <c:pt idx="168">
                  <c:v>37</c:v>
                </c:pt>
                <c:pt idx="169">
                  <c:v>20</c:v>
                </c:pt>
                <c:pt idx="170">
                  <c:v>27</c:v>
                </c:pt>
                <c:pt idx="171">
                  <c:v>77</c:v>
                </c:pt>
                <c:pt idx="172">
                  <c:v>50</c:v>
                </c:pt>
                <c:pt idx="173">
                  <c:v>52</c:v>
                </c:pt>
                <c:pt idx="174">
                  <c:v>44</c:v>
                </c:pt>
                <c:pt idx="175">
                  <c:v>37</c:v>
                </c:pt>
                <c:pt idx="176">
                  <c:v>13</c:v>
                </c:pt>
                <c:pt idx="177">
                  <c:v>17</c:v>
                </c:pt>
                <c:pt idx="178">
                  <c:v>84</c:v>
                </c:pt>
                <c:pt idx="179">
                  <c:v>61</c:v>
                </c:pt>
                <c:pt idx="180">
                  <c:v>42</c:v>
                </c:pt>
                <c:pt idx="181">
                  <c:v>53</c:v>
                </c:pt>
                <c:pt idx="182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1617930248735E-3"/>
                  <c:y val="-2.33126914241082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428317798490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5</c:v>
                </c:pt>
                <c:pt idx="4">
                  <c:v>7</c:v>
                </c:pt>
                <c:pt idx="5">
                  <c:v>12</c:v>
                </c:pt>
                <c:pt idx="6">
                  <c:v>15</c:v>
                </c:pt>
                <c:pt idx="7">
                  <c:v>7</c:v>
                </c:pt>
                <c:pt idx="8">
                  <c:v>5</c:v>
                </c:pt>
                <c:pt idx="9">
                  <c:v>8</c:v>
                </c:pt>
                <c:pt idx="10">
                  <c:v>10</c:v>
                </c:pt>
                <c:pt idx="11">
                  <c:v>13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5</c:v>
                </c:pt>
                <c:pt idx="16">
                  <c:v>4</c:v>
                </c:pt>
                <c:pt idx="17">
                  <c:v>17</c:v>
                </c:pt>
                <c:pt idx="18">
                  <c:v>17</c:v>
                </c:pt>
                <c:pt idx="19">
                  <c:v>20</c:v>
                </c:pt>
                <c:pt idx="20">
                  <c:v>19</c:v>
                </c:pt>
                <c:pt idx="21">
                  <c:v>17</c:v>
                </c:pt>
                <c:pt idx="22">
                  <c:v>10</c:v>
                </c:pt>
                <c:pt idx="23">
                  <c:v>10</c:v>
                </c:pt>
                <c:pt idx="24">
                  <c:v>32</c:v>
                </c:pt>
                <c:pt idx="25">
                  <c:v>24</c:v>
                </c:pt>
                <c:pt idx="26">
                  <c:v>25</c:v>
                </c:pt>
                <c:pt idx="27">
                  <c:v>49</c:v>
                </c:pt>
                <c:pt idx="28">
                  <c:v>38</c:v>
                </c:pt>
                <c:pt idx="29">
                  <c:v>31</c:v>
                </c:pt>
                <c:pt idx="30">
                  <c:v>12</c:v>
                </c:pt>
                <c:pt idx="31">
                  <c:v>58</c:v>
                </c:pt>
                <c:pt idx="32">
                  <c:v>63</c:v>
                </c:pt>
                <c:pt idx="33">
                  <c:v>69</c:v>
                </c:pt>
                <c:pt idx="34">
                  <c:v>30</c:v>
                </c:pt>
                <c:pt idx="35">
                  <c:v>77</c:v>
                </c:pt>
                <c:pt idx="36">
                  <c:v>55</c:v>
                </c:pt>
                <c:pt idx="37">
                  <c:v>37</c:v>
                </c:pt>
                <c:pt idx="38">
                  <c:v>103</c:v>
                </c:pt>
                <c:pt idx="39">
                  <c:v>99</c:v>
                </c:pt>
                <c:pt idx="40">
                  <c:v>106</c:v>
                </c:pt>
                <c:pt idx="41">
                  <c:v>96</c:v>
                </c:pt>
                <c:pt idx="42">
                  <c:v>104</c:v>
                </c:pt>
                <c:pt idx="43">
                  <c:v>79</c:v>
                </c:pt>
                <c:pt idx="44">
                  <c:v>24</c:v>
                </c:pt>
                <c:pt idx="45">
                  <c:v>121</c:v>
                </c:pt>
                <c:pt idx="46">
                  <c:v>132</c:v>
                </c:pt>
                <c:pt idx="47">
                  <c:v>164</c:v>
                </c:pt>
                <c:pt idx="48">
                  <c:v>92</c:v>
                </c:pt>
                <c:pt idx="49">
                  <c:v>151</c:v>
                </c:pt>
                <c:pt idx="50">
                  <c:v>87</c:v>
                </c:pt>
                <c:pt idx="51">
                  <c:v>52</c:v>
                </c:pt>
                <c:pt idx="52">
                  <c:v>145</c:v>
                </c:pt>
                <c:pt idx="53">
                  <c:v>213</c:v>
                </c:pt>
                <c:pt idx="54">
                  <c:v>107</c:v>
                </c:pt>
                <c:pt idx="55">
                  <c:v>154</c:v>
                </c:pt>
                <c:pt idx="56">
                  <c:v>210</c:v>
                </c:pt>
                <c:pt idx="57">
                  <c:v>146</c:v>
                </c:pt>
                <c:pt idx="58">
                  <c:v>78</c:v>
                </c:pt>
                <c:pt idx="59">
                  <c:v>177</c:v>
                </c:pt>
                <c:pt idx="60">
                  <c:v>236</c:v>
                </c:pt>
                <c:pt idx="61">
                  <c:v>126</c:v>
                </c:pt>
                <c:pt idx="62">
                  <c:v>199</c:v>
                </c:pt>
                <c:pt idx="63">
                  <c:v>173</c:v>
                </c:pt>
                <c:pt idx="64">
                  <c:v>99</c:v>
                </c:pt>
                <c:pt idx="65">
                  <c:v>74</c:v>
                </c:pt>
                <c:pt idx="66">
                  <c:v>192</c:v>
                </c:pt>
                <c:pt idx="67">
                  <c:v>151</c:v>
                </c:pt>
                <c:pt idx="68">
                  <c:v>157</c:v>
                </c:pt>
                <c:pt idx="69">
                  <c:v>138</c:v>
                </c:pt>
                <c:pt idx="70">
                  <c:v>126</c:v>
                </c:pt>
                <c:pt idx="71">
                  <c:v>77</c:v>
                </c:pt>
                <c:pt idx="72">
                  <c:v>61</c:v>
                </c:pt>
                <c:pt idx="73">
                  <c:v>151</c:v>
                </c:pt>
                <c:pt idx="74">
                  <c:v>143</c:v>
                </c:pt>
                <c:pt idx="75">
                  <c:v>107</c:v>
                </c:pt>
                <c:pt idx="76">
                  <c:v>116</c:v>
                </c:pt>
                <c:pt idx="77">
                  <c:v>104</c:v>
                </c:pt>
                <c:pt idx="78">
                  <c:v>69</c:v>
                </c:pt>
                <c:pt idx="79">
                  <c:v>50</c:v>
                </c:pt>
                <c:pt idx="80">
                  <c:v>95</c:v>
                </c:pt>
                <c:pt idx="81">
                  <c:v>112</c:v>
                </c:pt>
                <c:pt idx="82">
                  <c:v>78</c:v>
                </c:pt>
                <c:pt idx="83">
                  <c:v>61</c:v>
                </c:pt>
                <c:pt idx="84">
                  <c:v>71</c:v>
                </c:pt>
                <c:pt idx="85">
                  <c:v>44</c:v>
                </c:pt>
                <c:pt idx="86">
                  <c:v>30</c:v>
                </c:pt>
                <c:pt idx="87">
                  <c:v>82</c:v>
                </c:pt>
                <c:pt idx="88">
                  <c:v>74</c:v>
                </c:pt>
                <c:pt idx="89">
                  <c:v>50</c:v>
                </c:pt>
                <c:pt idx="90">
                  <c:v>54</c:v>
                </c:pt>
                <c:pt idx="91">
                  <c:v>17</c:v>
                </c:pt>
                <c:pt idx="92">
                  <c:v>18</c:v>
                </c:pt>
                <c:pt idx="93">
                  <c:v>17</c:v>
                </c:pt>
                <c:pt idx="94">
                  <c:v>71</c:v>
                </c:pt>
                <c:pt idx="95">
                  <c:v>86</c:v>
                </c:pt>
                <c:pt idx="96">
                  <c:v>50</c:v>
                </c:pt>
                <c:pt idx="97">
                  <c:v>45</c:v>
                </c:pt>
                <c:pt idx="98">
                  <c:v>44</c:v>
                </c:pt>
                <c:pt idx="99">
                  <c:v>10</c:v>
                </c:pt>
                <c:pt idx="100">
                  <c:v>32</c:v>
                </c:pt>
                <c:pt idx="101">
                  <c:v>82</c:v>
                </c:pt>
                <c:pt idx="102">
                  <c:v>67</c:v>
                </c:pt>
                <c:pt idx="103">
                  <c:v>44</c:v>
                </c:pt>
                <c:pt idx="104">
                  <c:v>49</c:v>
                </c:pt>
                <c:pt idx="105">
                  <c:v>56</c:v>
                </c:pt>
                <c:pt idx="106">
                  <c:v>32</c:v>
                </c:pt>
                <c:pt idx="107">
                  <c:v>22</c:v>
                </c:pt>
                <c:pt idx="108">
                  <c:v>59</c:v>
                </c:pt>
                <c:pt idx="109">
                  <c:v>89</c:v>
                </c:pt>
                <c:pt idx="110">
                  <c:v>79</c:v>
                </c:pt>
                <c:pt idx="111">
                  <c:v>77</c:v>
                </c:pt>
                <c:pt idx="112">
                  <c:v>77</c:v>
                </c:pt>
                <c:pt idx="113">
                  <c:v>73</c:v>
                </c:pt>
                <c:pt idx="114">
                  <c:v>43</c:v>
                </c:pt>
                <c:pt idx="115">
                  <c:v>179</c:v>
                </c:pt>
                <c:pt idx="116">
                  <c:v>196</c:v>
                </c:pt>
                <c:pt idx="117">
                  <c:v>186</c:v>
                </c:pt>
                <c:pt idx="118">
                  <c:v>202</c:v>
                </c:pt>
                <c:pt idx="119">
                  <c:v>248</c:v>
                </c:pt>
                <c:pt idx="120">
                  <c:v>131</c:v>
                </c:pt>
                <c:pt idx="121">
                  <c:v>110</c:v>
                </c:pt>
                <c:pt idx="122">
                  <c:v>324</c:v>
                </c:pt>
                <c:pt idx="123">
                  <c:v>325</c:v>
                </c:pt>
                <c:pt idx="124">
                  <c:v>408</c:v>
                </c:pt>
                <c:pt idx="125">
                  <c:v>339</c:v>
                </c:pt>
                <c:pt idx="126">
                  <c:v>423</c:v>
                </c:pt>
                <c:pt idx="127">
                  <c:v>148</c:v>
                </c:pt>
                <c:pt idx="128">
                  <c:v>212</c:v>
                </c:pt>
                <c:pt idx="129">
                  <c:v>457</c:v>
                </c:pt>
                <c:pt idx="130">
                  <c:v>488</c:v>
                </c:pt>
                <c:pt idx="131">
                  <c:v>392</c:v>
                </c:pt>
                <c:pt idx="132">
                  <c:v>358</c:v>
                </c:pt>
                <c:pt idx="133">
                  <c:v>283</c:v>
                </c:pt>
                <c:pt idx="134">
                  <c:v>232</c:v>
                </c:pt>
                <c:pt idx="135">
                  <c:v>123</c:v>
                </c:pt>
                <c:pt idx="136">
                  <c:v>418</c:v>
                </c:pt>
                <c:pt idx="137">
                  <c:v>382</c:v>
                </c:pt>
                <c:pt idx="138">
                  <c:v>301</c:v>
                </c:pt>
                <c:pt idx="139">
                  <c:v>262</c:v>
                </c:pt>
                <c:pt idx="140">
                  <c:v>233</c:v>
                </c:pt>
                <c:pt idx="141">
                  <c:v>141</c:v>
                </c:pt>
                <c:pt idx="142">
                  <c:v>107</c:v>
                </c:pt>
                <c:pt idx="143">
                  <c:v>280</c:v>
                </c:pt>
                <c:pt idx="144">
                  <c:v>295</c:v>
                </c:pt>
                <c:pt idx="145">
                  <c:v>226</c:v>
                </c:pt>
                <c:pt idx="146">
                  <c:v>195</c:v>
                </c:pt>
                <c:pt idx="147">
                  <c:v>178</c:v>
                </c:pt>
                <c:pt idx="148">
                  <c:v>87</c:v>
                </c:pt>
                <c:pt idx="149">
                  <c:v>64</c:v>
                </c:pt>
                <c:pt idx="150">
                  <c:v>216</c:v>
                </c:pt>
                <c:pt idx="151">
                  <c:v>159</c:v>
                </c:pt>
                <c:pt idx="152">
                  <c:v>111</c:v>
                </c:pt>
                <c:pt idx="153">
                  <c:v>118</c:v>
                </c:pt>
                <c:pt idx="154">
                  <c:v>112</c:v>
                </c:pt>
                <c:pt idx="155">
                  <c:v>68</c:v>
                </c:pt>
                <c:pt idx="156">
                  <c:v>55</c:v>
                </c:pt>
                <c:pt idx="157">
                  <c:v>149</c:v>
                </c:pt>
                <c:pt idx="158">
                  <c:v>147</c:v>
                </c:pt>
                <c:pt idx="159">
                  <c:v>116</c:v>
                </c:pt>
                <c:pt idx="160">
                  <c:v>102</c:v>
                </c:pt>
                <c:pt idx="161">
                  <c:v>115</c:v>
                </c:pt>
                <c:pt idx="162">
                  <c:v>72</c:v>
                </c:pt>
                <c:pt idx="163">
                  <c:v>36</c:v>
                </c:pt>
                <c:pt idx="164">
                  <c:v>161</c:v>
                </c:pt>
                <c:pt idx="165">
                  <c:v>119</c:v>
                </c:pt>
                <c:pt idx="166">
                  <c:v>125</c:v>
                </c:pt>
                <c:pt idx="167">
                  <c:v>111</c:v>
                </c:pt>
                <c:pt idx="168">
                  <c:v>111</c:v>
                </c:pt>
                <c:pt idx="169">
                  <c:v>60</c:v>
                </c:pt>
                <c:pt idx="170">
                  <c:v>35</c:v>
                </c:pt>
                <c:pt idx="171">
                  <c:v>156</c:v>
                </c:pt>
                <c:pt idx="172">
                  <c:v>125</c:v>
                </c:pt>
                <c:pt idx="173">
                  <c:v>110</c:v>
                </c:pt>
                <c:pt idx="174">
                  <c:v>111</c:v>
                </c:pt>
                <c:pt idx="175">
                  <c:v>106</c:v>
                </c:pt>
                <c:pt idx="176">
                  <c:v>58</c:v>
                </c:pt>
                <c:pt idx="177">
                  <c:v>38</c:v>
                </c:pt>
                <c:pt idx="178">
                  <c:v>166</c:v>
                </c:pt>
                <c:pt idx="179">
                  <c:v>130</c:v>
                </c:pt>
                <c:pt idx="180">
                  <c:v>102</c:v>
                </c:pt>
                <c:pt idx="181">
                  <c:v>101</c:v>
                </c:pt>
                <c:pt idx="182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2.0981596668658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7</c:v>
                </c:pt>
                <c:pt idx="4">
                  <c:v>6</c:v>
                </c:pt>
                <c:pt idx="5">
                  <c:v>8</c:v>
                </c:pt>
                <c:pt idx="6">
                  <c:v>12</c:v>
                </c:pt>
                <c:pt idx="7">
                  <c:v>8</c:v>
                </c:pt>
                <c:pt idx="8">
                  <c:v>4</c:v>
                </c:pt>
                <c:pt idx="9">
                  <c:v>6</c:v>
                </c:pt>
                <c:pt idx="10">
                  <c:v>9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9</c:v>
                </c:pt>
                <c:pt idx="15">
                  <c:v>7</c:v>
                </c:pt>
                <c:pt idx="16">
                  <c:v>5</c:v>
                </c:pt>
                <c:pt idx="17">
                  <c:v>19</c:v>
                </c:pt>
                <c:pt idx="18">
                  <c:v>31</c:v>
                </c:pt>
                <c:pt idx="19">
                  <c:v>19</c:v>
                </c:pt>
                <c:pt idx="20">
                  <c:v>16</c:v>
                </c:pt>
                <c:pt idx="21">
                  <c:v>14</c:v>
                </c:pt>
                <c:pt idx="22">
                  <c:v>9</c:v>
                </c:pt>
                <c:pt idx="23">
                  <c:v>12</c:v>
                </c:pt>
                <c:pt idx="24">
                  <c:v>38</c:v>
                </c:pt>
                <c:pt idx="25">
                  <c:v>54</c:v>
                </c:pt>
                <c:pt idx="26">
                  <c:v>46</c:v>
                </c:pt>
                <c:pt idx="27">
                  <c:v>53</c:v>
                </c:pt>
                <c:pt idx="28">
                  <c:v>42</c:v>
                </c:pt>
                <c:pt idx="29">
                  <c:v>27</c:v>
                </c:pt>
                <c:pt idx="30">
                  <c:v>20</c:v>
                </c:pt>
                <c:pt idx="31">
                  <c:v>76</c:v>
                </c:pt>
                <c:pt idx="32">
                  <c:v>82</c:v>
                </c:pt>
                <c:pt idx="33">
                  <c:v>63</c:v>
                </c:pt>
                <c:pt idx="34">
                  <c:v>40</c:v>
                </c:pt>
                <c:pt idx="35">
                  <c:v>78</c:v>
                </c:pt>
                <c:pt idx="36">
                  <c:v>52</c:v>
                </c:pt>
                <c:pt idx="37">
                  <c:v>40</c:v>
                </c:pt>
                <c:pt idx="38">
                  <c:v>129</c:v>
                </c:pt>
                <c:pt idx="39">
                  <c:v>129</c:v>
                </c:pt>
                <c:pt idx="40">
                  <c:v>103</c:v>
                </c:pt>
                <c:pt idx="41">
                  <c:v>105</c:v>
                </c:pt>
                <c:pt idx="42">
                  <c:v>127</c:v>
                </c:pt>
                <c:pt idx="43">
                  <c:v>53</c:v>
                </c:pt>
                <c:pt idx="44">
                  <c:v>38</c:v>
                </c:pt>
                <c:pt idx="45">
                  <c:v>127</c:v>
                </c:pt>
                <c:pt idx="46">
                  <c:v>134</c:v>
                </c:pt>
                <c:pt idx="47">
                  <c:v>144</c:v>
                </c:pt>
                <c:pt idx="48">
                  <c:v>113</c:v>
                </c:pt>
                <c:pt idx="49">
                  <c:v>160</c:v>
                </c:pt>
                <c:pt idx="50">
                  <c:v>90</c:v>
                </c:pt>
                <c:pt idx="51">
                  <c:v>49</c:v>
                </c:pt>
                <c:pt idx="52">
                  <c:v>156</c:v>
                </c:pt>
                <c:pt idx="53">
                  <c:v>190</c:v>
                </c:pt>
                <c:pt idx="54">
                  <c:v>139</c:v>
                </c:pt>
                <c:pt idx="55">
                  <c:v>156</c:v>
                </c:pt>
                <c:pt idx="56">
                  <c:v>243</c:v>
                </c:pt>
                <c:pt idx="57">
                  <c:v>117</c:v>
                </c:pt>
                <c:pt idx="58">
                  <c:v>86</c:v>
                </c:pt>
                <c:pt idx="59">
                  <c:v>196</c:v>
                </c:pt>
                <c:pt idx="60">
                  <c:v>206</c:v>
                </c:pt>
                <c:pt idx="61">
                  <c:v>171</c:v>
                </c:pt>
                <c:pt idx="62">
                  <c:v>247</c:v>
                </c:pt>
                <c:pt idx="63">
                  <c:v>141</c:v>
                </c:pt>
                <c:pt idx="64">
                  <c:v>108</c:v>
                </c:pt>
                <c:pt idx="65">
                  <c:v>83</c:v>
                </c:pt>
                <c:pt idx="66">
                  <c:v>197</c:v>
                </c:pt>
                <c:pt idx="67">
                  <c:v>184</c:v>
                </c:pt>
                <c:pt idx="68">
                  <c:v>158</c:v>
                </c:pt>
                <c:pt idx="69">
                  <c:v>126</c:v>
                </c:pt>
                <c:pt idx="70">
                  <c:v>152</c:v>
                </c:pt>
                <c:pt idx="71">
                  <c:v>94</c:v>
                </c:pt>
                <c:pt idx="72">
                  <c:v>63</c:v>
                </c:pt>
                <c:pt idx="73">
                  <c:v>185</c:v>
                </c:pt>
                <c:pt idx="74">
                  <c:v>156</c:v>
                </c:pt>
                <c:pt idx="75">
                  <c:v>127</c:v>
                </c:pt>
                <c:pt idx="76">
                  <c:v>108</c:v>
                </c:pt>
                <c:pt idx="77">
                  <c:v>89</c:v>
                </c:pt>
                <c:pt idx="78">
                  <c:v>75</c:v>
                </c:pt>
                <c:pt idx="79">
                  <c:v>60</c:v>
                </c:pt>
                <c:pt idx="80">
                  <c:v>115</c:v>
                </c:pt>
                <c:pt idx="81">
                  <c:v>166</c:v>
                </c:pt>
                <c:pt idx="82">
                  <c:v>88</c:v>
                </c:pt>
                <c:pt idx="83">
                  <c:v>87</c:v>
                </c:pt>
                <c:pt idx="84">
                  <c:v>91</c:v>
                </c:pt>
                <c:pt idx="85">
                  <c:v>57</c:v>
                </c:pt>
                <c:pt idx="86">
                  <c:v>41</c:v>
                </c:pt>
                <c:pt idx="87">
                  <c:v>99</c:v>
                </c:pt>
                <c:pt idx="88">
                  <c:v>92</c:v>
                </c:pt>
                <c:pt idx="89">
                  <c:v>44</c:v>
                </c:pt>
                <c:pt idx="90">
                  <c:v>68</c:v>
                </c:pt>
                <c:pt idx="91">
                  <c:v>20</c:v>
                </c:pt>
                <c:pt idx="92">
                  <c:v>12</c:v>
                </c:pt>
                <c:pt idx="93">
                  <c:v>21</c:v>
                </c:pt>
                <c:pt idx="94">
                  <c:v>67</c:v>
                </c:pt>
                <c:pt idx="95">
                  <c:v>90</c:v>
                </c:pt>
                <c:pt idx="96">
                  <c:v>59</c:v>
                </c:pt>
                <c:pt idx="97">
                  <c:v>57</c:v>
                </c:pt>
                <c:pt idx="98">
                  <c:v>73</c:v>
                </c:pt>
                <c:pt idx="99">
                  <c:v>12</c:v>
                </c:pt>
                <c:pt idx="100">
                  <c:v>22</c:v>
                </c:pt>
                <c:pt idx="101">
                  <c:v>91</c:v>
                </c:pt>
                <c:pt idx="102">
                  <c:v>86</c:v>
                </c:pt>
                <c:pt idx="103">
                  <c:v>69</c:v>
                </c:pt>
                <c:pt idx="104">
                  <c:v>66</c:v>
                </c:pt>
                <c:pt idx="105">
                  <c:v>64</c:v>
                </c:pt>
                <c:pt idx="106">
                  <c:v>30</c:v>
                </c:pt>
                <c:pt idx="107">
                  <c:v>27</c:v>
                </c:pt>
                <c:pt idx="108">
                  <c:v>77</c:v>
                </c:pt>
                <c:pt idx="109">
                  <c:v>106</c:v>
                </c:pt>
                <c:pt idx="110">
                  <c:v>88</c:v>
                </c:pt>
                <c:pt idx="111">
                  <c:v>74</c:v>
                </c:pt>
                <c:pt idx="112">
                  <c:v>94</c:v>
                </c:pt>
                <c:pt idx="113">
                  <c:v>57</c:v>
                </c:pt>
                <c:pt idx="114">
                  <c:v>54</c:v>
                </c:pt>
                <c:pt idx="115">
                  <c:v>178</c:v>
                </c:pt>
                <c:pt idx="116">
                  <c:v>190</c:v>
                </c:pt>
                <c:pt idx="117">
                  <c:v>220</c:v>
                </c:pt>
                <c:pt idx="118">
                  <c:v>215</c:v>
                </c:pt>
                <c:pt idx="119">
                  <c:v>204</c:v>
                </c:pt>
                <c:pt idx="120">
                  <c:v>141</c:v>
                </c:pt>
                <c:pt idx="121">
                  <c:v>109</c:v>
                </c:pt>
                <c:pt idx="122">
                  <c:v>282</c:v>
                </c:pt>
                <c:pt idx="123">
                  <c:v>313</c:v>
                </c:pt>
                <c:pt idx="124">
                  <c:v>399</c:v>
                </c:pt>
                <c:pt idx="125">
                  <c:v>305</c:v>
                </c:pt>
                <c:pt idx="126">
                  <c:v>406</c:v>
                </c:pt>
                <c:pt idx="127">
                  <c:v>148</c:v>
                </c:pt>
                <c:pt idx="128">
                  <c:v>170</c:v>
                </c:pt>
                <c:pt idx="129">
                  <c:v>361</c:v>
                </c:pt>
                <c:pt idx="130">
                  <c:v>479</c:v>
                </c:pt>
                <c:pt idx="131">
                  <c:v>352</c:v>
                </c:pt>
                <c:pt idx="132">
                  <c:v>349</c:v>
                </c:pt>
                <c:pt idx="133">
                  <c:v>289</c:v>
                </c:pt>
                <c:pt idx="134">
                  <c:v>181</c:v>
                </c:pt>
                <c:pt idx="135">
                  <c:v>107</c:v>
                </c:pt>
                <c:pt idx="136">
                  <c:v>416</c:v>
                </c:pt>
                <c:pt idx="137">
                  <c:v>355</c:v>
                </c:pt>
                <c:pt idx="138">
                  <c:v>302</c:v>
                </c:pt>
                <c:pt idx="139">
                  <c:v>252</c:v>
                </c:pt>
                <c:pt idx="140">
                  <c:v>216</c:v>
                </c:pt>
                <c:pt idx="141">
                  <c:v>122</c:v>
                </c:pt>
                <c:pt idx="142">
                  <c:v>88</c:v>
                </c:pt>
                <c:pt idx="143">
                  <c:v>233</c:v>
                </c:pt>
                <c:pt idx="144">
                  <c:v>256</c:v>
                </c:pt>
                <c:pt idx="145">
                  <c:v>169</c:v>
                </c:pt>
                <c:pt idx="146">
                  <c:v>151</c:v>
                </c:pt>
                <c:pt idx="147">
                  <c:v>141</c:v>
                </c:pt>
                <c:pt idx="148">
                  <c:v>78</c:v>
                </c:pt>
                <c:pt idx="149">
                  <c:v>51</c:v>
                </c:pt>
                <c:pt idx="150">
                  <c:v>187</c:v>
                </c:pt>
                <c:pt idx="151">
                  <c:v>143</c:v>
                </c:pt>
                <c:pt idx="152">
                  <c:v>109</c:v>
                </c:pt>
                <c:pt idx="153">
                  <c:v>122</c:v>
                </c:pt>
                <c:pt idx="154">
                  <c:v>96</c:v>
                </c:pt>
                <c:pt idx="155">
                  <c:v>56</c:v>
                </c:pt>
                <c:pt idx="156">
                  <c:v>41</c:v>
                </c:pt>
                <c:pt idx="157">
                  <c:v>151</c:v>
                </c:pt>
                <c:pt idx="158">
                  <c:v>132</c:v>
                </c:pt>
                <c:pt idx="159">
                  <c:v>102</c:v>
                </c:pt>
                <c:pt idx="160">
                  <c:v>95</c:v>
                </c:pt>
                <c:pt idx="161">
                  <c:v>76</c:v>
                </c:pt>
                <c:pt idx="162">
                  <c:v>53</c:v>
                </c:pt>
                <c:pt idx="163">
                  <c:v>32</c:v>
                </c:pt>
                <c:pt idx="164">
                  <c:v>151</c:v>
                </c:pt>
                <c:pt idx="165">
                  <c:v>124</c:v>
                </c:pt>
                <c:pt idx="166">
                  <c:v>125</c:v>
                </c:pt>
                <c:pt idx="167">
                  <c:v>91</c:v>
                </c:pt>
                <c:pt idx="168">
                  <c:v>84</c:v>
                </c:pt>
                <c:pt idx="169">
                  <c:v>45</c:v>
                </c:pt>
                <c:pt idx="170">
                  <c:v>35</c:v>
                </c:pt>
                <c:pt idx="171">
                  <c:v>156</c:v>
                </c:pt>
                <c:pt idx="172">
                  <c:v>121</c:v>
                </c:pt>
                <c:pt idx="173">
                  <c:v>102</c:v>
                </c:pt>
                <c:pt idx="174">
                  <c:v>94</c:v>
                </c:pt>
                <c:pt idx="175">
                  <c:v>109</c:v>
                </c:pt>
                <c:pt idx="176">
                  <c:v>44</c:v>
                </c:pt>
                <c:pt idx="177">
                  <c:v>27</c:v>
                </c:pt>
                <c:pt idx="178">
                  <c:v>151</c:v>
                </c:pt>
                <c:pt idx="179">
                  <c:v>112</c:v>
                </c:pt>
                <c:pt idx="180">
                  <c:v>110</c:v>
                </c:pt>
                <c:pt idx="181">
                  <c:v>79</c:v>
                </c:pt>
                <c:pt idx="182">
                  <c:v>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71</c:v>
                </c:pt>
                <c:pt idx="1">
                  <c:v>69</c:v>
                </c:pt>
                <c:pt idx="2">
                  <c:v>69</c:v>
                </c:pt>
                <c:pt idx="3">
                  <c:v>71</c:v>
                </c:pt>
                <c:pt idx="4">
                  <c:v>75</c:v>
                </c:pt>
                <c:pt idx="5">
                  <c:v>78</c:v>
                </c:pt>
                <c:pt idx="6">
                  <c:v>86</c:v>
                </c:pt>
                <c:pt idx="7">
                  <c:v>87</c:v>
                </c:pt>
                <c:pt idx="8">
                  <c:v>91</c:v>
                </c:pt>
                <c:pt idx="9">
                  <c:v>91</c:v>
                </c:pt>
                <c:pt idx="10">
                  <c:v>90</c:v>
                </c:pt>
                <c:pt idx="11">
                  <c:v>89</c:v>
                </c:pt>
                <c:pt idx="12">
                  <c:v>90</c:v>
                </c:pt>
                <c:pt idx="13">
                  <c:v>95</c:v>
                </c:pt>
                <c:pt idx="14">
                  <c:v>98</c:v>
                </c:pt>
                <c:pt idx="15">
                  <c:v>99</c:v>
                </c:pt>
                <c:pt idx="16">
                  <c:v>98</c:v>
                </c:pt>
                <c:pt idx="17">
                  <c:v>92</c:v>
                </c:pt>
                <c:pt idx="18">
                  <c:v>101</c:v>
                </c:pt>
                <c:pt idx="19">
                  <c:v>98</c:v>
                </c:pt>
                <c:pt idx="20">
                  <c:v>101</c:v>
                </c:pt>
                <c:pt idx="21">
                  <c:v>104</c:v>
                </c:pt>
                <c:pt idx="22">
                  <c:v>107</c:v>
                </c:pt>
                <c:pt idx="23">
                  <c:v>113</c:v>
                </c:pt>
                <c:pt idx="24">
                  <c:v>130</c:v>
                </c:pt>
                <c:pt idx="25">
                  <c:v>143</c:v>
                </c:pt>
                <c:pt idx="26">
                  <c:v>151</c:v>
                </c:pt>
                <c:pt idx="27">
                  <c:v>158</c:v>
                </c:pt>
                <c:pt idx="28">
                  <c:v>169</c:v>
                </c:pt>
                <c:pt idx="29">
                  <c:v>182</c:v>
                </c:pt>
                <c:pt idx="30">
                  <c:v>192</c:v>
                </c:pt>
                <c:pt idx="31">
                  <c:v>217</c:v>
                </c:pt>
                <c:pt idx="32">
                  <c:v>224</c:v>
                </c:pt>
                <c:pt idx="33">
                  <c:v>245</c:v>
                </c:pt>
                <c:pt idx="34">
                  <c:v>259</c:v>
                </c:pt>
                <c:pt idx="35">
                  <c:v>289</c:v>
                </c:pt>
                <c:pt idx="36">
                  <c:v>305</c:v>
                </c:pt>
                <c:pt idx="37">
                  <c:v>311</c:v>
                </c:pt>
                <c:pt idx="38">
                  <c:v>350</c:v>
                </c:pt>
                <c:pt idx="39">
                  <c:v>371</c:v>
                </c:pt>
                <c:pt idx="40">
                  <c:v>394</c:v>
                </c:pt>
                <c:pt idx="41">
                  <c:v>408</c:v>
                </c:pt>
                <c:pt idx="42">
                  <c:v>426</c:v>
                </c:pt>
                <c:pt idx="43">
                  <c:v>434</c:v>
                </c:pt>
                <c:pt idx="44">
                  <c:v>442</c:v>
                </c:pt>
                <c:pt idx="45">
                  <c:v>463</c:v>
                </c:pt>
                <c:pt idx="46">
                  <c:v>494</c:v>
                </c:pt>
                <c:pt idx="47">
                  <c:v>508</c:v>
                </c:pt>
                <c:pt idx="48">
                  <c:v>540</c:v>
                </c:pt>
                <c:pt idx="49">
                  <c:v>538</c:v>
                </c:pt>
                <c:pt idx="50">
                  <c:v>572</c:v>
                </c:pt>
                <c:pt idx="51">
                  <c:v>577</c:v>
                </c:pt>
                <c:pt idx="52">
                  <c:v>577</c:v>
                </c:pt>
                <c:pt idx="53">
                  <c:v>602</c:v>
                </c:pt>
                <c:pt idx="54">
                  <c:v>607</c:v>
                </c:pt>
                <c:pt idx="55">
                  <c:v>631</c:v>
                </c:pt>
                <c:pt idx="56">
                  <c:v>672</c:v>
                </c:pt>
                <c:pt idx="57">
                  <c:v>701</c:v>
                </c:pt>
                <c:pt idx="58">
                  <c:v>706</c:v>
                </c:pt>
                <c:pt idx="59">
                  <c:v>703</c:v>
                </c:pt>
                <c:pt idx="60">
                  <c:v>739</c:v>
                </c:pt>
                <c:pt idx="61">
                  <c:v>727</c:v>
                </c:pt>
                <c:pt idx="62">
                  <c:v>745</c:v>
                </c:pt>
                <c:pt idx="63">
                  <c:v>734</c:v>
                </c:pt>
                <c:pt idx="64">
                  <c:v>741</c:v>
                </c:pt>
                <c:pt idx="65">
                  <c:v>754</c:v>
                </c:pt>
                <c:pt idx="66">
                  <c:v>744</c:v>
                </c:pt>
                <c:pt idx="67">
                  <c:v>738</c:v>
                </c:pt>
                <c:pt idx="68">
                  <c:v>755</c:v>
                </c:pt>
                <c:pt idx="69">
                  <c:v>728</c:v>
                </c:pt>
                <c:pt idx="70">
                  <c:v>700</c:v>
                </c:pt>
                <c:pt idx="71">
                  <c:v>693</c:v>
                </c:pt>
                <c:pt idx="72">
                  <c:v>675</c:v>
                </c:pt>
                <c:pt idx="73">
                  <c:v>634</c:v>
                </c:pt>
                <c:pt idx="74">
                  <c:v>615</c:v>
                </c:pt>
                <c:pt idx="75">
                  <c:v>603</c:v>
                </c:pt>
                <c:pt idx="76">
                  <c:v>576</c:v>
                </c:pt>
                <c:pt idx="77">
                  <c:v>556</c:v>
                </c:pt>
                <c:pt idx="78">
                  <c:v>545</c:v>
                </c:pt>
                <c:pt idx="79">
                  <c:v>525</c:v>
                </c:pt>
                <c:pt idx="80">
                  <c:v>493</c:v>
                </c:pt>
                <c:pt idx="81">
                  <c:v>471</c:v>
                </c:pt>
                <c:pt idx="82">
                  <c:v>448</c:v>
                </c:pt>
                <c:pt idx="83">
                  <c:v>421</c:v>
                </c:pt>
                <c:pt idx="84">
                  <c:v>397</c:v>
                </c:pt>
                <c:pt idx="85">
                  <c:v>394</c:v>
                </c:pt>
                <c:pt idx="86">
                  <c:v>392</c:v>
                </c:pt>
                <c:pt idx="87">
                  <c:v>367</c:v>
                </c:pt>
                <c:pt idx="88">
                  <c:v>366</c:v>
                </c:pt>
                <c:pt idx="89">
                  <c:v>351</c:v>
                </c:pt>
                <c:pt idx="90">
                  <c:v>342</c:v>
                </c:pt>
                <c:pt idx="91">
                  <c:v>315</c:v>
                </c:pt>
                <c:pt idx="92">
                  <c:v>312</c:v>
                </c:pt>
                <c:pt idx="93">
                  <c:v>308</c:v>
                </c:pt>
                <c:pt idx="94">
                  <c:v>299</c:v>
                </c:pt>
                <c:pt idx="95">
                  <c:v>306</c:v>
                </c:pt>
                <c:pt idx="96">
                  <c:v>309</c:v>
                </c:pt>
                <c:pt idx="97">
                  <c:v>310</c:v>
                </c:pt>
                <c:pt idx="98">
                  <c:v>306</c:v>
                </c:pt>
                <c:pt idx="99">
                  <c:v>296</c:v>
                </c:pt>
                <c:pt idx="100">
                  <c:v>304</c:v>
                </c:pt>
                <c:pt idx="101">
                  <c:v>303</c:v>
                </c:pt>
                <c:pt idx="102">
                  <c:v>307</c:v>
                </c:pt>
                <c:pt idx="103">
                  <c:v>310</c:v>
                </c:pt>
                <c:pt idx="104">
                  <c:v>318</c:v>
                </c:pt>
                <c:pt idx="105">
                  <c:v>331</c:v>
                </c:pt>
                <c:pt idx="106">
                  <c:v>334</c:v>
                </c:pt>
                <c:pt idx="107">
                  <c:v>340</c:v>
                </c:pt>
                <c:pt idx="108">
                  <c:v>339</c:v>
                </c:pt>
                <c:pt idx="109">
                  <c:v>356</c:v>
                </c:pt>
                <c:pt idx="110">
                  <c:v>406</c:v>
                </c:pt>
                <c:pt idx="111">
                  <c:v>422</c:v>
                </c:pt>
                <c:pt idx="112">
                  <c:v>451</c:v>
                </c:pt>
                <c:pt idx="113">
                  <c:v>470</c:v>
                </c:pt>
                <c:pt idx="114">
                  <c:v>489</c:v>
                </c:pt>
                <c:pt idx="115">
                  <c:v>563</c:v>
                </c:pt>
                <c:pt idx="116">
                  <c:v>630</c:v>
                </c:pt>
                <c:pt idx="117">
                  <c:v>718</c:v>
                </c:pt>
                <c:pt idx="118">
                  <c:v>807</c:v>
                </c:pt>
                <c:pt idx="119">
                  <c:v>815</c:v>
                </c:pt>
                <c:pt idx="120">
                  <c:v>799</c:v>
                </c:pt>
                <c:pt idx="121">
                  <c:v>816</c:v>
                </c:pt>
                <c:pt idx="122">
                  <c:v>907</c:v>
                </c:pt>
                <c:pt idx="123">
                  <c:v>1018</c:v>
                </c:pt>
                <c:pt idx="124">
                  <c:v>1139</c:v>
                </c:pt>
                <c:pt idx="125">
                  <c:v>1158</c:v>
                </c:pt>
                <c:pt idx="126">
                  <c:v>1210</c:v>
                </c:pt>
                <c:pt idx="127">
                  <c:v>1159</c:v>
                </c:pt>
                <c:pt idx="128">
                  <c:v>1159</c:v>
                </c:pt>
                <c:pt idx="129">
                  <c:v>1232</c:v>
                </c:pt>
                <c:pt idx="130">
                  <c:v>1371</c:v>
                </c:pt>
                <c:pt idx="131">
                  <c:v>1420</c:v>
                </c:pt>
                <c:pt idx="132">
                  <c:v>1359</c:v>
                </c:pt>
                <c:pt idx="133">
                  <c:v>1293</c:v>
                </c:pt>
                <c:pt idx="134">
                  <c:v>1238</c:v>
                </c:pt>
                <c:pt idx="135">
                  <c:v>1153</c:v>
                </c:pt>
                <c:pt idx="136">
                  <c:v>1157</c:v>
                </c:pt>
                <c:pt idx="137">
                  <c:v>1202</c:v>
                </c:pt>
                <c:pt idx="138">
                  <c:v>1198</c:v>
                </c:pt>
                <c:pt idx="139">
                  <c:v>1081</c:v>
                </c:pt>
                <c:pt idx="140">
                  <c:v>1020</c:v>
                </c:pt>
                <c:pt idx="141">
                  <c:v>905</c:v>
                </c:pt>
                <c:pt idx="142">
                  <c:v>825</c:v>
                </c:pt>
                <c:pt idx="143">
                  <c:v>847</c:v>
                </c:pt>
                <c:pt idx="144">
                  <c:v>877</c:v>
                </c:pt>
                <c:pt idx="145">
                  <c:v>893</c:v>
                </c:pt>
                <c:pt idx="146">
                  <c:v>810</c:v>
                </c:pt>
                <c:pt idx="147">
                  <c:v>764</c:v>
                </c:pt>
                <c:pt idx="148">
                  <c:v>717</c:v>
                </c:pt>
                <c:pt idx="149">
                  <c:v>649</c:v>
                </c:pt>
                <c:pt idx="150">
                  <c:v>638</c:v>
                </c:pt>
                <c:pt idx="151">
                  <c:v>645</c:v>
                </c:pt>
                <c:pt idx="152">
                  <c:v>650</c:v>
                </c:pt>
                <c:pt idx="153">
                  <c:v>562</c:v>
                </c:pt>
                <c:pt idx="154">
                  <c:v>516</c:v>
                </c:pt>
                <c:pt idx="155">
                  <c:v>482</c:v>
                </c:pt>
                <c:pt idx="156">
                  <c:v>447</c:v>
                </c:pt>
                <c:pt idx="157">
                  <c:v>459</c:v>
                </c:pt>
                <c:pt idx="158">
                  <c:v>463</c:v>
                </c:pt>
                <c:pt idx="159">
                  <c:v>485</c:v>
                </c:pt>
                <c:pt idx="160">
                  <c:v>459</c:v>
                </c:pt>
                <c:pt idx="161">
                  <c:v>442</c:v>
                </c:pt>
                <c:pt idx="162">
                  <c:v>427</c:v>
                </c:pt>
                <c:pt idx="163">
                  <c:v>407</c:v>
                </c:pt>
                <c:pt idx="164">
                  <c:v>436</c:v>
                </c:pt>
                <c:pt idx="165">
                  <c:v>470</c:v>
                </c:pt>
                <c:pt idx="166">
                  <c:v>490</c:v>
                </c:pt>
                <c:pt idx="167">
                  <c:v>461</c:v>
                </c:pt>
                <c:pt idx="168">
                  <c:v>446</c:v>
                </c:pt>
                <c:pt idx="169">
                  <c:v>414</c:v>
                </c:pt>
                <c:pt idx="170">
                  <c:v>403</c:v>
                </c:pt>
                <c:pt idx="171">
                  <c:v>441</c:v>
                </c:pt>
                <c:pt idx="172">
                  <c:v>461</c:v>
                </c:pt>
                <c:pt idx="173">
                  <c:v>483</c:v>
                </c:pt>
                <c:pt idx="174">
                  <c:v>447</c:v>
                </c:pt>
                <c:pt idx="175">
                  <c:v>436</c:v>
                </c:pt>
                <c:pt idx="176">
                  <c:v>396</c:v>
                </c:pt>
                <c:pt idx="177">
                  <c:v>375</c:v>
                </c:pt>
                <c:pt idx="178">
                  <c:v>424</c:v>
                </c:pt>
                <c:pt idx="179">
                  <c:v>465</c:v>
                </c:pt>
                <c:pt idx="180">
                  <c:v>479</c:v>
                </c:pt>
                <c:pt idx="181">
                  <c:v>449</c:v>
                </c:pt>
                <c:pt idx="182">
                  <c:v>4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9.32502150007671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76</c:v>
                </c:pt>
                <c:pt idx="1">
                  <c:v>182</c:v>
                </c:pt>
                <c:pt idx="2">
                  <c:v>184</c:v>
                </c:pt>
                <c:pt idx="3">
                  <c:v>185</c:v>
                </c:pt>
                <c:pt idx="4">
                  <c:v>190</c:v>
                </c:pt>
                <c:pt idx="5">
                  <c:v>196</c:v>
                </c:pt>
                <c:pt idx="6">
                  <c:v>205</c:v>
                </c:pt>
                <c:pt idx="7">
                  <c:v>207</c:v>
                </c:pt>
                <c:pt idx="8">
                  <c:v>208</c:v>
                </c:pt>
                <c:pt idx="9">
                  <c:v>215</c:v>
                </c:pt>
                <c:pt idx="10">
                  <c:v>214</c:v>
                </c:pt>
                <c:pt idx="11">
                  <c:v>223</c:v>
                </c:pt>
                <c:pt idx="12">
                  <c:v>227</c:v>
                </c:pt>
                <c:pt idx="13">
                  <c:v>229</c:v>
                </c:pt>
                <c:pt idx="14">
                  <c:v>230</c:v>
                </c:pt>
                <c:pt idx="15">
                  <c:v>230</c:v>
                </c:pt>
                <c:pt idx="16">
                  <c:v>228</c:v>
                </c:pt>
                <c:pt idx="17">
                  <c:v>239</c:v>
                </c:pt>
                <c:pt idx="18">
                  <c:v>251</c:v>
                </c:pt>
                <c:pt idx="19">
                  <c:v>252</c:v>
                </c:pt>
                <c:pt idx="20">
                  <c:v>262</c:v>
                </c:pt>
                <c:pt idx="21">
                  <c:v>272</c:v>
                </c:pt>
                <c:pt idx="22">
                  <c:v>277</c:v>
                </c:pt>
                <c:pt idx="23">
                  <c:v>280</c:v>
                </c:pt>
                <c:pt idx="24">
                  <c:v>302</c:v>
                </c:pt>
                <c:pt idx="25">
                  <c:v>312</c:v>
                </c:pt>
                <c:pt idx="26">
                  <c:v>330</c:v>
                </c:pt>
                <c:pt idx="27">
                  <c:v>369</c:v>
                </c:pt>
                <c:pt idx="28">
                  <c:v>396</c:v>
                </c:pt>
                <c:pt idx="29">
                  <c:v>425</c:v>
                </c:pt>
                <c:pt idx="30">
                  <c:v>429</c:v>
                </c:pt>
                <c:pt idx="31">
                  <c:v>472</c:v>
                </c:pt>
                <c:pt idx="32">
                  <c:v>518</c:v>
                </c:pt>
                <c:pt idx="33">
                  <c:v>567</c:v>
                </c:pt>
                <c:pt idx="34">
                  <c:v>580</c:v>
                </c:pt>
                <c:pt idx="35">
                  <c:v>640</c:v>
                </c:pt>
                <c:pt idx="36">
                  <c:v>686</c:v>
                </c:pt>
                <c:pt idx="37">
                  <c:v>713</c:v>
                </c:pt>
                <c:pt idx="38">
                  <c:v>774</c:v>
                </c:pt>
                <c:pt idx="39">
                  <c:v>855</c:v>
                </c:pt>
                <c:pt idx="40">
                  <c:v>927</c:v>
                </c:pt>
                <c:pt idx="41">
                  <c:v>971</c:v>
                </c:pt>
                <c:pt idx="42">
                  <c:v>1042</c:v>
                </c:pt>
                <c:pt idx="43">
                  <c:v>1098</c:v>
                </c:pt>
                <c:pt idx="44">
                  <c:v>1099</c:v>
                </c:pt>
                <c:pt idx="45">
                  <c:v>1140</c:v>
                </c:pt>
                <c:pt idx="46">
                  <c:v>1218</c:v>
                </c:pt>
                <c:pt idx="47">
                  <c:v>1320</c:v>
                </c:pt>
                <c:pt idx="48">
                  <c:v>1377</c:v>
                </c:pt>
                <c:pt idx="49">
                  <c:v>1446</c:v>
                </c:pt>
                <c:pt idx="50">
                  <c:v>1484</c:v>
                </c:pt>
                <c:pt idx="51">
                  <c:v>1492</c:v>
                </c:pt>
                <c:pt idx="52">
                  <c:v>1524</c:v>
                </c:pt>
                <c:pt idx="53">
                  <c:v>1636</c:v>
                </c:pt>
                <c:pt idx="54">
                  <c:v>1639</c:v>
                </c:pt>
                <c:pt idx="55">
                  <c:v>1697</c:v>
                </c:pt>
                <c:pt idx="56">
                  <c:v>1794</c:v>
                </c:pt>
                <c:pt idx="57">
                  <c:v>1891</c:v>
                </c:pt>
                <c:pt idx="58">
                  <c:v>1936</c:v>
                </c:pt>
                <c:pt idx="59">
                  <c:v>1947</c:v>
                </c:pt>
                <c:pt idx="60">
                  <c:v>2051</c:v>
                </c:pt>
                <c:pt idx="61">
                  <c:v>2036</c:v>
                </c:pt>
                <c:pt idx="62">
                  <c:v>2122</c:v>
                </c:pt>
                <c:pt idx="63">
                  <c:v>2152</c:v>
                </c:pt>
                <c:pt idx="64">
                  <c:v>2189</c:v>
                </c:pt>
                <c:pt idx="65">
                  <c:v>2214</c:v>
                </c:pt>
                <c:pt idx="66">
                  <c:v>2175</c:v>
                </c:pt>
                <c:pt idx="67">
                  <c:v>2150</c:v>
                </c:pt>
                <c:pt idx="68">
                  <c:v>2235</c:v>
                </c:pt>
                <c:pt idx="69">
                  <c:v>2159</c:v>
                </c:pt>
                <c:pt idx="70">
                  <c:v>2059</c:v>
                </c:pt>
                <c:pt idx="71">
                  <c:v>2062</c:v>
                </c:pt>
                <c:pt idx="72">
                  <c:v>2047</c:v>
                </c:pt>
                <c:pt idx="73">
                  <c:v>1911</c:v>
                </c:pt>
                <c:pt idx="74">
                  <c:v>1863</c:v>
                </c:pt>
                <c:pt idx="75">
                  <c:v>1810</c:v>
                </c:pt>
                <c:pt idx="76">
                  <c:v>1778</c:v>
                </c:pt>
                <c:pt idx="77">
                  <c:v>1715</c:v>
                </c:pt>
                <c:pt idx="78">
                  <c:v>1713</c:v>
                </c:pt>
                <c:pt idx="79">
                  <c:v>1700</c:v>
                </c:pt>
                <c:pt idx="80">
                  <c:v>1554</c:v>
                </c:pt>
                <c:pt idx="81">
                  <c:v>1525</c:v>
                </c:pt>
                <c:pt idx="82">
                  <c:v>1463</c:v>
                </c:pt>
                <c:pt idx="83">
                  <c:v>1397</c:v>
                </c:pt>
                <c:pt idx="84">
                  <c:v>1340</c:v>
                </c:pt>
                <c:pt idx="85">
                  <c:v>1327</c:v>
                </c:pt>
                <c:pt idx="86">
                  <c:v>1294</c:v>
                </c:pt>
                <c:pt idx="87">
                  <c:v>1187</c:v>
                </c:pt>
                <c:pt idx="88">
                  <c:v>1134</c:v>
                </c:pt>
                <c:pt idx="89">
                  <c:v>1085</c:v>
                </c:pt>
                <c:pt idx="90">
                  <c:v>1045</c:v>
                </c:pt>
                <c:pt idx="91">
                  <c:v>952</c:v>
                </c:pt>
                <c:pt idx="92">
                  <c:v>919</c:v>
                </c:pt>
                <c:pt idx="93">
                  <c:v>881</c:v>
                </c:pt>
                <c:pt idx="94">
                  <c:v>819</c:v>
                </c:pt>
                <c:pt idx="95">
                  <c:v>821</c:v>
                </c:pt>
                <c:pt idx="96">
                  <c:v>803</c:v>
                </c:pt>
                <c:pt idx="97">
                  <c:v>777</c:v>
                </c:pt>
                <c:pt idx="98">
                  <c:v>756</c:v>
                </c:pt>
                <c:pt idx="99">
                  <c:v>735</c:v>
                </c:pt>
                <c:pt idx="100">
                  <c:v>730</c:v>
                </c:pt>
                <c:pt idx="101">
                  <c:v>710</c:v>
                </c:pt>
                <c:pt idx="102">
                  <c:v>724</c:v>
                </c:pt>
                <c:pt idx="103">
                  <c:v>712</c:v>
                </c:pt>
                <c:pt idx="104">
                  <c:v>720</c:v>
                </c:pt>
                <c:pt idx="105">
                  <c:v>764</c:v>
                </c:pt>
                <c:pt idx="106">
                  <c:v>779</c:v>
                </c:pt>
                <c:pt idx="107">
                  <c:v>773</c:v>
                </c:pt>
                <c:pt idx="108">
                  <c:v>735</c:v>
                </c:pt>
                <c:pt idx="109">
                  <c:v>759</c:v>
                </c:pt>
                <c:pt idx="110">
                  <c:v>790</c:v>
                </c:pt>
                <c:pt idx="111">
                  <c:v>824</c:v>
                </c:pt>
                <c:pt idx="112">
                  <c:v>868</c:v>
                </c:pt>
                <c:pt idx="113">
                  <c:v>926</c:v>
                </c:pt>
                <c:pt idx="114">
                  <c:v>924</c:v>
                </c:pt>
                <c:pt idx="115">
                  <c:v>1011</c:v>
                </c:pt>
                <c:pt idx="116">
                  <c:v>1153</c:v>
                </c:pt>
                <c:pt idx="117">
                  <c:v>1300</c:v>
                </c:pt>
                <c:pt idx="118">
                  <c:v>1439</c:v>
                </c:pt>
                <c:pt idx="119">
                  <c:v>1553</c:v>
                </c:pt>
                <c:pt idx="120">
                  <c:v>1580</c:v>
                </c:pt>
                <c:pt idx="121">
                  <c:v>1601</c:v>
                </c:pt>
                <c:pt idx="122">
                  <c:v>1759</c:v>
                </c:pt>
                <c:pt idx="123">
                  <c:v>2028</c:v>
                </c:pt>
                <c:pt idx="124">
                  <c:v>2370</c:v>
                </c:pt>
                <c:pt idx="125">
                  <c:v>2486</c:v>
                </c:pt>
                <c:pt idx="126">
                  <c:v>2718</c:v>
                </c:pt>
                <c:pt idx="127">
                  <c:v>2676</c:v>
                </c:pt>
                <c:pt idx="128">
                  <c:v>2688</c:v>
                </c:pt>
                <c:pt idx="129">
                  <c:v>2909</c:v>
                </c:pt>
                <c:pt idx="130">
                  <c:v>3277</c:v>
                </c:pt>
                <c:pt idx="131">
                  <c:v>3538</c:v>
                </c:pt>
                <c:pt idx="132">
                  <c:v>3478</c:v>
                </c:pt>
                <c:pt idx="133">
                  <c:v>3395</c:v>
                </c:pt>
                <c:pt idx="134">
                  <c:v>3230</c:v>
                </c:pt>
                <c:pt idx="135">
                  <c:v>3010</c:v>
                </c:pt>
                <c:pt idx="136">
                  <c:v>3067</c:v>
                </c:pt>
                <c:pt idx="137">
                  <c:v>3283</c:v>
                </c:pt>
                <c:pt idx="138">
                  <c:v>3385</c:v>
                </c:pt>
                <c:pt idx="139">
                  <c:v>3080</c:v>
                </c:pt>
                <c:pt idx="140">
                  <c:v>2886</c:v>
                </c:pt>
                <c:pt idx="141">
                  <c:v>2669</c:v>
                </c:pt>
                <c:pt idx="142">
                  <c:v>2428</c:v>
                </c:pt>
                <c:pt idx="143">
                  <c:v>2414</c:v>
                </c:pt>
                <c:pt idx="144">
                  <c:v>2563</c:v>
                </c:pt>
                <c:pt idx="145">
                  <c:v>2646</c:v>
                </c:pt>
                <c:pt idx="146">
                  <c:v>2319</c:v>
                </c:pt>
                <c:pt idx="147">
                  <c:v>2198</c:v>
                </c:pt>
                <c:pt idx="148">
                  <c:v>1995</c:v>
                </c:pt>
                <c:pt idx="149">
                  <c:v>1803</c:v>
                </c:pt>
                <c:pt idx="150">
                  <c:v>1794</c:v>
                </c:pt>
                <c:pt idx="151">
                  <c:v>1826</c:v>
                </c:pt>
                <c:pt idx="152">
                  <c:v>1818</c:v>
                </c:pt>
                <c:pt idx="153">
                  <c:v>1583</c:v>
                </c:pt>
                <c:pt idx="154">
                  <c:v>1444</c:v>
                </c:pt>
                <c:pt idx="155">
                  <c:v>1305</c:v>
                </c:pt>
                <c:pt idx="156">
                  <c:v>1166</c:v>
                </c:pt>
                <c:pt idx="157">
                  <c:v>1144</c:v>
                </c:pt>
                <c:pt idx="158">
                  <c:v>1222</c:v>
                </c:pt>
                <c:pt idx="159">
                  <c:v>1254</c:v>
                </c:pt>
                <c:pt idx="160">
                  <c:v>1103</c:v>
                </c:pt>
                <c:pt idx="161">
                  <c:v>1098</c:v>
                </c:pt>
                <c:pt idx="162">
                  <c:v>1041</c:v>
                </c:pt>
                <c:pt idx="163">
                  <c:v>970</c:v>
                </c:pt>
                <c:pt idx="164">
                  <c:v>1019</c:v>
                </c:pt>
                <c:pt idx="165">
                  <c:v>1074</c:v>
                </c:pt>
                <c:pt idx="166">
                  <c:v>1135</c:v>
                </c:pt>
                <c:pt idx="167">
                  <c:v>1077</c:v>
                </c:pt>
                <c:pt idx="168">
                  <c:v>1062</c:v>
                </c:pt>
                <c:pt idx="169">
                  <c:v>997</c:v>
                </c:pt>
                <c:pt idx="170">
                  <c:v>934</c:v>
                </c:pt>
                <c:pt idx="171">
                  <c:v>972</c:v>
                </c:pt>
                <c:pt idx="172">
                  <c:v>1040</c:v>
                </c:pt>
                <c:pt idx="173">
                  <c:v>1118</c:v>
                </c:pt>
                <c:pt idx="174">
                  <c:v>1026</c:v>
                </c:pt>
                <c:pt idx="175">
                  <c:v>1032</c:v>
                </c:pt>
                <c:pt idx="176">
                  <c:v>970</c:v>
                </c:pt>
                <c:pt idx="177">
                  <c:v>898</c:v>
                </c:pt>
                <c:pt idx="178">
                  <c:v>947</c:v>
                </c:pt>
                <c:pt idx="179">
                  <c:v>1032</c:v>
                </c:pt>
                <c:pt idx="180">
                  <c:v>1083</c:v>
                </c:pt>
                <c:pt idx="181">
                  <c:v>1010</c:v>
                </c:pt>
                <c:pt idx="182">
                  <c:v>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39877617066424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4.09.21</c:v>
                </c:pt>
                <c:pt idx="1">
                  <c:v>25.09.21</c:v>
                </c:pt>
                <c:pt idx="2">
                  <c:v>26.09.21</c:v>
                </c:pt>
                <c:pt idx="3">
                  <c:v>27.09.21</c:v>
                </c:pt>
                <c:pt idx="4">
                  <c:v>28.09.21</c:v>
                </c:pt>
                <c:pt idx="5">
                  <c:v>29.09.21</c:v>
                </c:pt>
                <c:pt idx="6">
                  <c:v>30.09.21</c:v>
                </c:pt>
                <c:pt idx="7">
                  <c:v>01.10.21</c:v>
                </c:pt>
                <c:pt idx="8">
                  <c:v>02.10.21</c:v>
                </c:pt>
                <c:pt idx="9">
                  <c:v>03.10.21</c:v>
                </c:pt>
                <c:pt idx="10">
                  <c:v>04.10.21</c:v>
                </c:pt>
                <c:pt idx="11">
                  <c:v>05.10.21</c:v>
                </c:pt>
                <c:pt idx="12">
                  <c:v>06.10.21</c:v>
                </c:pt>
                <c:pt idx="13">
                  <c:v>07.10.21</c:v>
                </c:pt>
                <c:pt idx="14">
                  <c:v>08.10.21</c:v>
                </c:pt>
                <c:pt idx="15">
                  <c:v>09.10.21</c:v>
                </c:pt>
                <c:pt idx="16">
                  <c:v>10.10.21</c:v>
                </c:pt>
                <c:pt idx="17">
                  <c:v>11.10.21</c:v>
                </c:pt>
                <c:pt idx="18">
                  <c:v>12.10.21</c:v>
                </c:pt>
                <c:pt idx="19">
                  <c:v>13.10.21</c:v>
                </c:pt>
                <c:pt idx="20">
                  <c:v>14.10.21</c:v>
                </c:pt>
                <c:pt idx="21">
                  <c:v>15.10.21</c:v>
                </c:pt>
                <c:pt idx="22">
                  <c:v>16.10.21</c:v>
                </c:pt>
                <c:pt idx="23">
                  <c:v>17.10.21</c:v>
                </c:pt>
                <c:pt idx="24">
                  <c:v>18.10.21</c:v>
                </c:pt>
                <c:pt idx="25">
                  <c:v>19.10.21</c:v>
                </c:pt>
                <c:pt idx="26">
                  <c:v>20.10.21</c:v>
                </c:pt>
                <c:pt idx="27">
                  <c:v>21.10.21</c:v>
                </c:pt>
                <c:pt idx="28">
                  <c:v>22.10.21</c:v>
                </c:pt>
                <c:pt idx="29">
                  <c:v>23.10.21</c:v>
                </c:pt>
                <c:pt idx="30">
                  <c:v>24.10.21</c:v>
                </c:pt>
                <c:pt idx="31">
                  <c:v>25.10.21</c:v>
                </c:pt>
                <c:pt idx="32">
                  <c:v>26.10.21</c:v>
                </c:pt>
                <c:pt idx="33">
                  <c:v>27.10.21</c:v>
                </c:pt>
                <c:pt idx="34">
                  <c:v>28.10.21</c:v>
                </c:pt>
                <c:pt idx="35">
                  <c:v>29.10.21</c:v>
                </c:pt>
                <c:pt idx="36">
                  <c:v>30.10.21</c:v>
                </c:pt>
                <c:pt idx="37">
                  <c:v>31.10.21</c:v>
                </c:pt>
                <c:pt idx="38">
                  <c:v>01.11.21</c:v>
                </c:pt>
                <c:pt idx="39">
                  <c:v>02.11.21</c:v>
                </c:pt>
                <c:pt idx="40">
                  <c:v>03.11.21</c:v>
                </c:pt>
                <c:pt idx="41">
                  <c:v>04.11.21</c:v>
                </c:pt>
                <c:pt idx="42">
                  <c:v>05.11.21</c:v>
                </c:pt>
                <c:pt idx="43">
                  <c:v>06.11.21</c:v>
                </c:pt>
                <c:pt idx="44">
                  <c:v>07.11.21</c:v>
                </c:pt>
                <c:pt idx="45">
                  <c:v>08.11.21</c:v>
                </c:pt>
                <c:pt idx="46">
                  <c:v>09.11.21</c:v>
                </c:pt>
                <c:pt idx="47">
                  <c:v>10.11.21</c:v>
                </c:pt>
                <c:pt idx="48">
                  <c:v>11.11.21</c:v>
                </c:pt>
                <c:pt idx="49">
                  <c:v>12.11.21</c:v>
                </c:pt>
                <c:pt idx="50">
                  <c:v>13.11.21</c:v>
                </c:pt>
                <c:pt idx="51">
                  <c:v>14.11.21</c:v>
                </c:pt>
                <c:pt idx="52">
                  <c:v>15.11.21</c:v>
                </c:pt>
                <c:pt idx="53">
                  <c:v>16.11.21</c:v>
                </c:pt>
                <c:pt idx="54">
                  <c:v>17.11.21</c:v>
                </c:pt>
                <c:pt idx="55">
                  <c:v>18.11.21</c:v>
                </c:pt>
                <c:pt idx="56">
                  <c:v>19.11.21</c:v>
                </c:pt>
                <c:pt idx="57">
                  <c:v>20.11.21</c:v>
                </c:pt>
                <c:pt idx="58">
                  <c:v>21.11.21</c:v>
                </c:pt>
                <c:pt idx="59">
                  <c:v>22.11.21</c:v>
                </c:pt>
                <c:pt idx="60">
                  <c:v>23.11.21</c:v>
                </c:pt>
                <c:pt idx="61">
                  <c:v>24.11.21</c:v>
                </c:pt>
                <c:pt idx="62">
                  <c:v>25.11.21</c:v>
                </c:pt>
                <c:pt idx="63">
                  <c:v>26.11.21</c:v>
                </c:pt>
                <c:pt idx="64">
                  <c:v>27.11.21</c:v>
                </c:pt>
                <c:pt idx="65">
                  <c:v>28.11.21</c:v>
                </c:pt>
                <c:pt idx="66">
                  <c:v>29.11.21</c:v>
                </c:pt>
                <c:pt idx="67">
                  <c:v>30.11.21</c:v>
                </c:pt>
                <c:pt idx="68">
                  <c:v>01.12.21</c:v>
                </c:pt>
                <c:pt idx="69">
                  <c:v>02.12.21</c:v>
                </c:pt>
                <c:pt idx="70">
                  <c:v>03.12.21</c:v>
                </c:pt>
                <c:pt idx="71">
                  <c:v>04.12.21</c:v>
                </c:pt>
                <c:pt idx="72">
                  <c:v>05.12.21</c:v>
                </c:pt>
                <c:pt idx="73">
                  <c:v>06.12.21</c:v>
                </c:pt>
                <c:pt idx="74">
                  <c:v>07.12.21</c:v>
                </c:pt>
                <c:pt idx="75">
                  <c:v>08.12.21</c:v>
                </c:pt>
                <c:pt idx="76">
                  <c:v>09.12.21</c:v>
                </c:pt>
                <c:pt idx="77">
                  <c:v>10.12.21</c:v>
                </c:pt>
                <c:pt idx="78">
                  <c:v>11.12.21</c:v>
                </c:pt>
                <c:pt idx="79">
                  <c:v>12.12.21</c:v>
                </c:pt>
                <c:pt idx="80">
                  <c:v>13.12.21</c:v>
                </c:pt>
                <c:pt idx="81">
                  <c:v>14.12.21</c:v>
                </c:pt>
                <c:pt idx="82">
                  <c:v>15.12.21</c:v>
                </c:pt>
                <c:pt idx="83">
                  <c:v>16.12.21</c:v>
                </c:pt>
                <c:pt idx="84">
                  <c:v>17.12.21</c:v>
                </c:pt>
                <c:pt idx="85">
                  <c:v>18.12.21</c:v>
                </c:pt>
                <c:pt idx="86">
                  <c:v>19.12.21</c:v>
                </c:pt>
                <c:pt idx="87">
                  <c:v>20.12.21</c:v>
                </c:pt>
                <c:pt idx="88">
                  <c:v>21.12.21</c:v>
                </c:pt>
                <c:pt idx="89">
                  <c:v>22.12.21</c:v>
                </c:pt>
                <c:pt idx="90">
                  <c:v>23.12.21</c:v>
                </c:pt>
                <c:pt idx="91">
                  <c:v>24.12.21</c:v>
                </c:pt>
                <c:pt idx="92">
                  <c:v>25.12.21</c:v>
                </c:pt>
                <c:pt idx="93">
                  <c:v>26.12.21</c:v>
                </c:pt>
                <c:pt idx="94">
                  <c:v>27.12.21</c:v>
                </c:pt>
                <c:pt idx="95">
                  <c:v>28.12.21</c:v>
                </c:pt>
                <c:pt idx="96">
                  <c:v>29.12.21</c:v>
                </c:pt>
                <c:pt idx="97">
                  <c:v>30.12.21</c:v>
                </c:pt>
                <c:pt idx="98">
                  <c:v>31.12.21</c:v>
                </c:pt>
                <c:pt idx="99">
                  <c:v>01.01.22</c:v>
                </c:pt>
                <c:pt idx="100">
                  <c:v>02.01.22</c:v>
                </c:pt>
                <c:pt idx="101">
                  <c:v>03.01.22</c:v>
                </c:pt>
                <c:pt idx="102">
                  <c:v>04.01.22</c:v>
                </c:pt>
                <c:pt idx="103">
                  <c:v>05.01.22</c:v>
                </c:pt>
                <c:pt idx="104">
                  <c:v>06.01.22</c:v>
                </c:pt>
                <c:pt idx="105">
                  <c:v>07.01.22</c:v>
                </c:pt>
                <c:pt idx="106">
                  <c:v>08.01.22</c:v>
                </c:pt>
                <c:pt idx="107">
                  <c:v>09.01.22</c:v>
                </c:pt>
                <c:pt idx="108">
                  <c:v>10.01.22</c:v>
                </c:pt>
                <c:pt idx="109">
                  <c:v>11.01.22</c:v>
                </c:pt>
                <c:pt idx="110">
                  <c:v>12.01.22</c:v>
                </c:pt>
                <c:pt idx="111">
                  <c:v>13.01.22</c:v>
                </c:pt>
                <c:pt idx="112">
                  <c:v>14.01.22</c:v>
                </c:pt>
                <c:pt idx="113">
                  <c:v>15.01.22</c:v>
                </c:pt>
                <c:pt idx="114">
                  <c:v>16.01.22</c:v>
                </c:pt>
                <c:pt idx="115">
                  <c:v>17.01.22</c:v>
                </c:pt>
                <c:pt idx="116">
                  <c:v>18.01.22</c:v>
                </c:pt>
                <c:pt idx="117">
                  <c:v>19.01.22</c:v>
                </c:pt>
                <c:pt idx="118">
                  <c:v>20.01.22</c:v>
                </c:pt>
                <c:pt idx="119">
                  <c:v>21.01.22</c:v>
                </c:pt>
                <c:pt idx="120">
                  <c:v>22.01.22</c:v>
                </c:pt>
                <c:pt idx="121">
                  <c:v>23.01.22</c:v>
                </c:pt>
                <c:pt idx="122">
                  <c:v>24.01.22</c:v>
                </c:pt>
                <c:pt idx="123">
                  <c:v>25.01.22</c:v>
                </c:pt>
                <c:pt idx="124">
                  <c:v>26.01.22</c:v>
                </c:pt>
                <c:pt idx="125">
                  <c:v>27.01.22</c:v>
                </c:pt>
                <c:pt idx="126">
                  <c:v>28.01.22</c:v>
                </c:pt>
                <c:pt idx="127">
                  <c:v>29.01.22</c:v>
                </c:pt>
                <c:pt idx="128">
                  <c:v>30.01.22</c:v>
                </c:pt>
                <c:pt idx="129">
                  <c:v>31.01.22</c:v>
                </c:pt>
                <c:pt idx="130">
                  <c:v>01.02.22</c:v>
                </c:pt>
                <c:pt idx="131">
                  <c:v>02.02.22</c:v>
                </c:pt>
                <c:pt idx="132">
                  <c:v>03.02.22</c:v>
                </c:pt>
                <c:pt idx="133">
                  <c:v>04.02.22</c:v>
                </c:pt>
                <c:pt idx="134">
                  <c:v>05.02.22</c:v>
                </c:pt>
                <c:pt idx="135">
                  <c:v>06.02.22</c:v>
                </c:pt>
                <c:pt idx="136">
                  <c:v>07.02.22</c:v>
                </c:pt>
                <c:pt idx="137">
                  <c:v>08.02.22</c:v>
                </c:pt>
                <c:pt idx="138">
                  <c:v>09.02.22</c:v>
                </c:pt>
                <c:pt idx="139">
                  <c:v>10.02.22</c:v>
                </c:pt>
                <c:pt idx="140">
                  <c:v>11.02.22</c:v>
                </c:pt>
                <c:pt idx="141">
                  <c:v>12.02.22</c:v>
                </c:pt>
                <c:pt idx="142">
                  <c:v>13.02.22</c:v>
                </c:pt>
                <c:pt idx="143">
                  <c:v>14.02.22</c:v>
                </c:pt>
                <c:pt idx="144">
                  <c:v>15.02.22</c:v>
                </c:pt>
                <c:pt idx="145">
                  <c:v>16.02.22</c:v>
                </c:pt>
                <c:pt idx="146">
                  <c:v>17.02.22</c:v>
                </c:pt>
                <c:pt idx="147">
                  <c:v>18.02.22</c:v>
                </c:pt>
                <c:pt idx="148">
                  <c:v>19.02.22</c:v>
                </c:pt>
                <c:pt idx="149">
                  <c:v>20.02.22</c:v>
                </c:pt>
                <c:pt idx="150">
                  <c:v>21.02.22</c:v>
                </c:pt>
                <c:pt idx="151">
                  <c:v>22.02.22</c:v>
                </c:pt>
                <c:pt idx="152">
                  <c:v>23.02.22</c:v>
                </c:pt>
                <c:pt idx="153">
                  <c:v>24.02.22</c:v>
                </c:pt>
                <c:pt idx="154">
                  <c:v>25.02.22</c:v>
                </c:pt>
                <c:pt idx="155">
                  <c:v>26.02.22</c:v>
                </c:pt>
                <c:pt idx="156">
                  <c:v>27.02.22</c:v>
                </c:pt>
                <c:pt idx="157">
                  <c:v>28.02.22</c:v>
                </c:pt>
                <c:pt idx="158">
                  <c:v>01.03.22</c:v>
                </c:pt>
                <c:pt idx="159">
                  <c:v>02.03.22</c:v>
                </c:pt>
                <c:pt idx="160">
                  <c:v>03.03.22</c:v>
                </c:pt>
                <c:pt idx="161">
                  <c:v>04.03.22</c:v>
                </c:pt>
                <c:pt idx="162">
                  <c:v>05.03.22</c:v>
                </c:pt>
                <c:pt idx="163">
                  <c:v>06.03.22</c:v>
                </c:pt>
                <c:pt idx="164">
                  <c:v>07.03.22</c:v>
                </c:pt>
                <c:pt idx="165">
                  <c:v>08.03.22</c:v>
                </c:pt>
                <c:pt idx="166">
                  <c:v>09.03.22</c:v>
                </c:pt>
                <c:pt idx="167">
                  <c:v>10.03.22</c:v>
                </c:pt>
                <c:pt idx="168">
                  <c:v>11.03.22</c:v>
                </c:pt>
                <c:pt idx="169">
                  <c:v>12.03.22</c:v>
                </c:pt>
                <c:pt idx="170">
                  <c:v>13.03.22</c:v>
                </c:pt>
                <c:pt idx="171">
                  <c:v>14.03.22</c:v>
                </c:pt>
                <c:pt idx="172">
                  <c:v>15.03.22</c:v>
                </c:pt>
                <c:pt idx="173">
                  <c:v>16.03.22</c:v>
                </c:pt>
                <c:pt idx="174">
                  <c:v>17.03.22</c:v>
                </c:pt>
                <c:pt idx="175">
                  <c:v>18.03.22</c:v>
                </c:pt>
                <c:pt idx="176">
                  <c:v>19.03.22</c:v>
                </c:pt>
                <c:pt idx="177">
                  <c:v>20.03.22</c:v>
                </c:pt>
                <c:pt idx="178">
                  <c:v>21.03.22</c:v>
                </c:pt>
                <c:pt idx="179">
                  <c:v>22.03.22</c:v>
                </c:pt>
                <c:pt idx="180">
                  <c:v>23.03.22</c:v>
                </c:pt>
                <c:pt idx="181">
                  <c:v>24.03.22</c:v>
                </c:pt>
                <c:pt idx="182">
                  <c:v>25.03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83</c:v>
                </c:pt>
                <c:pt idx="1">
                  <c:v>186</c:v>
                </c:pt>
                <c:pt idx="2">
                  <c:v>185</c:v>
                </c:pt>
                <c:pt idx="3">
                  <c:v>188</c:v>
                </c:pt>
                <c:pt idx="4">
                  <c:v>193</c:v>
                </c:pt>
                <c:pt idx="5">
                  <c:v>193</c:v>
                </c:pt>
                <c:pt idx="6">
                  <c:v>198</c:v>
                </c:pt>
                <c:pt idx="7">
                  <c:v>201</c:v>
                </c:pt>
                <c:pt idx="8">
                  <c:v>203</c:v>
                </c:pt>
                <c:pt idx="9">
                  <c:v>204</c:v>
                </c:pt>
                <c:pt idx="10">
                  <c:v>206</c:v>
                </c:pt>
                <c:pt idx="11">
                  <c:v>208</c:v>
                </c:pt>
                <c:pt idx="12">
                  <c:v>217</c:v>
                </c:pt>
                <c:pt idx="13">
                  <c:v>222</c:v>
                </c:pt>
                <c:pt idx="14">
                  <c:v>228</c:v>
                </c:pt>
                <c:pt idx="15">
                  <c:v>233</c:v>
                </c:pt>
                <c:pt idx="16">
                  <c:v>235</c:v>
                </c:pt>
                <c:pt idx="17">
                  <c:v>245</c:v>
                </c:pt>
                <c:pt idx="18">
                  <c:v>274</c:v>
                </c:pt>
                <c:pt idx="19">
                  <c:v>281</c:v>
                </c:pt>
                <c:pt idx="20">
                  <c:v>289</c:v>
                </c:pt>
                <c:pt idx="21">
                  <c:v>293</c:v>
                </c:pt>
                <c:pt idx="22">
                  <c:v>299</c:v>
                </c:pt>
                <c:pt idx="23">
                  <c:v>303</c:v>
                </c:pt>
                <c:pt idx="24">
                  <c:v>330</c:v>
                </c:pt>
                <c:pt idx="25">
                  <c:v>371</c:v>
                </c:pt>
                <c:pt idx="26">
                  <c:v>406</c:v>
                </c:pt>
                <c:pt idx="27">
                  <c:v>445</c:v>
                </c:pt>
                <c:pt idx="28">
                  <c:v>476</c:v>
                </c:pt>
                <c:pt idx="29">
                  <c:v>499</c:v>
                </c:pt>
                <c:pt idx="30">
                  <c:v>512</c:v>
                </c:pt>
                <c:pt idx="31">
                  <c:v>560</c:v>
                </c:pt>
                <c:pt idx="32">
                  <c:v>615</c:v>
                </c:pt>
                <c:pt idx="33">
                  <c:v>662</c:v>
                </c:pt>
                <c:pt idx="34">
                  <c:v>687</c:v>
                </c:pt>
                <c:pt idx="35">
                  <c:v>751</c:v>
                </c:pt>
                <c:pt idx="36">
                  <c:v>796</c:v>
                </c:pt>
                <c:pt idx="37">
                  <c:v>825</c:v>
                </c:pt>
                <c:pt idx="38">
                  <c:v>898</c:v>
                </c:pt>
                <c:pt idx="39">
                  <c:v>972</c:v>
                </c:pt>
                <c:pt idx="40">
                  <c:v>1034</c:v>
                </c:pt>
                <c:pt idx="41">
                  <c:v>1086</c:v>
                </c:pt>
                <c:pt idx="42">
                  <c:v>1173</c:v>
                </c:pt>
                <c:pt idx="43">
                  <c:v>1201</c:v>
                </c:pt>
                <c:pt idx="44">
                  <c:v>1203</c:v>
                </c:pt>
                <c:pt idx="45">
                  <c:v>1236</c:v>
                </c:pt>
                <c:pt idx="46">
                  <c:v>1303</c:v>
                </c:pt>
                <c:pt idx="47">
                  <c:v>1384</c:v>
                </c:pt>
                <c:pt idx="48">
                  <c:v>1469</c:v>
                </c:pt>
                <c:pt idx="49">
                  <c:v>1534</c:v>
                </c:pt>
                <c:pt idx="50">
                  <c:v>1577</c:v>
                </c:pt>
                <c:pt idx="51">
                  <c:v>1587</c:v>
                </c:pt>
                <c:pt idx="52">
                  <c:v>1574</c:v>
                </c:pt>
                <c:pt idx="53">
                  <c:v>1644</c:v>
                </c:pt>
                <c:pt idx="54">
                  <c:v>1695</c:v>
                </c:pt>
                <c:pt idx="55">
                  <c:v>1741</c:v>
                </c:pt>
                <c:pt idx="56">
                  <c:v>1876</c:v>
                </c:pt>
                <c:pt idx="57">
                  <c:v>1955</c:v>
                </c:pt>
                <c:pt idx="58">
                  <c:v>1999</c:v>
                </c:pt>
                <c:pt idx="59">
                  <c:v>2032</c:v>
                </c:pt>
                <c:pt idx="60">
                  <c:v>2086</c:v>
                </c:pt>
                <c:pt idx="61">
                  <c:v>2126</c:v>
                </c:pt>
                <c:pt idx="62">
                  <c:v>2245</c:v>
                </c:pt>
                <c:pt idx="63">
                  <c:v>2232</c:v>
                </c:pt>
                <c:pt idx="64">
                  <c:v>2281</c:v>
                </c:pt>
                <c:pt idx="65">
                  <c:v>2305</c:v>
                </c:pt>
                <c:pt idx="66">
                  <c:v>2276</c:v>
                </c:pt>
                <c:pt idx="67">
                  <c:v>2266</c:v>
                </c:pt>
                <c:pt idx="68">
                  <c:v>2354</c:v>
                </c:pt>
                <c:pt idx="69">
                  <c:v>2259</c:v>
                </c:pt>
                <c:pt idx="70">
                  <c:v>2194</c:v>
                </c:pt>
                <c:pt idx="71">
                  <c:v>2197</c:v>
                </c:pt>
                <c:pt idx="72">
                  <c:v>2173</c:v>
                </c:pt>
                <c:pt idx="73">
                  <c:v>2089</c:v>
                </c:pt>
                <c:pt idx="74">
                  <c:v>2045</c:v>
                </c:pt>
                <c:pt idx="75">
                  <c:v>1983</c:v>
                </c:pt>
                <c:pt idx="76">
                  <c:v>1916</c:v>
                </c:pt>
                <c:pt idx="77">
                  <c:v>1850</c:v>
                </c:pt>
                <c:pt idx="78">
                  <c:v>1851</c:v>
                </c:pt>
                <c:pt idx="79">
                  <c:v>1826</c:v>
                </c:pt>
                <c:pt idx="80">
                  <c:v>1702</c:v>
                </c:pt>
                <c:pt idx="81">
                  <c:v>1691</c:v>
                </c:pt>
                <c:pt idx="82">
                  <c:v>1655</c:v>
                </c:pt>
                <c:pt idx="83">
                  <c:v>1589</c:v>
                </c:pt>
                <c:pt idx="84">
                  <c:v>1541</c:v>
                </c:pt>
                <c:pt idx="85">
                  <c:v>1537</c:v>
                </c:pt>
                <c:pt idx="86">
                  <c:v>1509</c:v>
                </c:pt>
                <c:pt idx="87">
                  <c:v>1385</c:v>
                </c:pt>
                <c:pt idx="88">
                  <c:v>1327</c:v>
                </c:pt>
                <c:pt idx="89">
                  <c:v>1260</c:v>
                </c:pt>
                <c:pt idx="90">
                  <c:v>1240</c:v>
                </c:pt>
                <c:pt idx="91">
                  <c:v>1155</c:v>
                </c:pt>
                <c:pt idx="92">
                  <c:v>1117</c:v>
                </c:pt>
                <c:pt idx="93">
                  <c:v>1077</c:v>
                </c:pt>
                <c:pt idx="94">
                  <c:v>949</c:v>
                </c:pt>
                <c:pt idx="95">
                  <c:v>945</c:v>
                </c:pt>
                <c:pt idx="96">
                  <c:v>907</c:v>
                </c:pt>
                <c:pt idx="97">
                  <c:v>878</c:v>
                </c:pt>
                <c:pt idx="98">
                  <c:v>865</c:v>
                </c:pt>
                <c:pt idx="99">
                  <c:v>838</c:v>
                </c:pt>
                <c:pt idx="100">
                  <c:v>809</c:v>
                </c:pt>
                <c:pt idx="101">
                  <c:v>776</c:v>
                </c:pt>
                <c:pt idx="102">
                  <c:v>802</c:v>
                </c:pt>
                <c:pt idx="103">
                  <c:v>804</c:v>
                </c:pt>
                <c:pt idx="104">
                  <c:v>833</c:v>
                </c:pt>
                <c:pt idx="105">
                  <c:v>887</c:v>
                </c:pt>
                <c:pt idx="106">
                  <c:v>898</c:v>
                </c:pt>
                <c:pt idx="107">
                  <c:v>893</c:v>
                </c:pt>
                <c:pt idx="108">
                  <c:v>878</c:v>
                </c:pt>
                <c:pt idx="109">
                  <c:v>903</c:v>
                </c:pt>
                <c:pt idx="110">
                  <c:v>936</c:v>
                </c:pt>
                <c:pt idx="111">
                  <c:v>947</c:v>
                </c:pt>
                <c:pt idx="112">
                  <c:v>994</c:v>
                </c:pt>
                <c:pt idx="113">
                  <c:v>1037</c:v>
                </c:pt>
                <c:pt idx="114">
                  <c:v>1052</c:v>
                </c:pt>
                <c:pt idx="115">
                  <c:v>1114</c:v>
                </c:pt>
                <c:pt idx="116">
                  <c:v>1241</c:v>
                </c:pt>
                <c:pt idx="117">
                  <c:v>1387</c:v>
                </c:pt>
                <c:pt idx="118">
                  <c:v>1541</c:v>
                </c:pt>
                <c:pt idx="119">
                  <c:v>1580</c:v>
                </c:pt>
                <c:pt idx="120">
                  <c:v>1618</c:v>
                </c:pt>
                <c:pt idx="121">
                  <c:v>1615</c:v>
                </c:pt>
                <c:pt idx="122">
                  <c:v>1713</c:v>
                </c:pt>
                <c:pt idx="123">
                  <c:v>1977</c:v>
                </c:pt>
                <c:pt idx="124">
                  <c:v>2315</c:v>
                </c:pt>
                <c:pt idx="125">
                  <c:v>2387</c:v>
                </c:pt>
                <c:pt idx="126">
                  <c:v>2610</c:v>
                </c:pt>
                <c:pt idx="127">
                  <c:v>2522</c:v>
                </c:pt>
                <c:pt idx="128">
                  <c:v>2510</c:v>
                </c:pt>
                <c:pt idx="129">
                  <c:v>2634</c:v>
                </c:pt>
                <c:pt idx="130">
                  <c:v>3005</c:v>
                </c:pt>
                <c:pt idx="131">
                  <c:v>3213</c:v>
                </c:pt>
                <c:pt idx="132">
                  <c:v>3187</c:v>
                </c:pt>
                <c:pt idx="133">
                  <c:v>3118</c:v>
                </c:pt>
                <c:pt idx="134">
                  <c:v>2959</c:v>
                </c:pt>
                <c:pt idx="135">
                  <c:v>2723</c:v>
                </c:pt>
                <c:pt idx="136">
                  <c:v>2817</c:v>
                </c:pt>
                <c:pt idx="137">
                  <c:v>3037</c:v>
                </c:pt>
                <c:pt idx="138">
                  <c:v>3195</c:v>
                </c:pt>
                <c:pt idx="139">
                  <c:v>2904</c:v>
                </c:pt>
                <c:pt idx="140">
                  <c:v>2723</c:v>
                </c:pt>
                <c:pt idx="141">
                  <c:v>2489</c:v>
                </c:pt>
                <c:pt idx="142">
                  <c:v>2255</c:v>
                </c:pt>
                <c:pt idx="143">
                  <c:v>2218</c:v>
                </c:pt>
                <c:pt idx="144">
                  <c:v>2362</c:v>
                </c:pt>
                <c:pt idx="145">
                  <c:v>2379</c:v>
                </c:pt>
                <c:pt idx="146">
                  <c:v>2048</c:v>
                </c:pt>
                <c:pt idx="147">
                  <c:v>1878</c:v>
                </c:pt>
                <c:pt idx="148">
                  <c:v>1694</c:v>
                </c:pt>
                <c:pt idx="149">
                  <c:v>1508</c:v>
                </c:pt>
                <c:pt idx="150">
                  <c:v>1469</c:v>
                </c:pt>
                <c:pt idx="151">
                  <c:v>1512</c:v>
                </c:pt>
                <c:pt idx="152">
                  <c:v>1529</c:v>
                </c:pt>
                <c:pt idx="153">
                  <c:v>1333</c:v>
                </c:pt>
                <c:pt idx="154">
                  <c:v>1241</c:v>
                </c:pt>
                <c:pt idx="155">
                  <c:v>1133</c:v>
                </c:pt>
                <c:pt idx="156">
                  <c:v>1029</c:v>
                </c:pt>
                <c:pt idx="157">
                  <c:v>1042</c:v>
                </c:pt>
                <c:pt idx="158">
                  <c:v>1113</c:v>
                </c:pt>
                <c:pt idx="159">
                  <c:v>1163</c:v>
                </c:pt>
                <c:pt idx="160">
                  <c:v>1036</c:v>
                </c:pt>
                <c:pt idx="161">
                  <c:v>989</c:v>
                </c:pt>
                <c:pt idx="162">
                  <c:v>930</c:v>
                </c:pt>
                <c:pt idx="163">
                  <c:v>837</c:v>
                </c:pt>
                <c:pt idx="164">
                  <c:v>901</c:v>
                </c:pt>
                <c:pt idx="165">
                  <c:v>973</c:v>
                </c:pt>
                <c:pt idx="166">
                  <c:v>1052</c:v>
                </c:pt>
                <c:pt idx="167">
                  <c:v>950</c:v>
                </c:pt>
                <c:pt idx="168">
                  <c:v>930</c:v>
                </c:pt>
                <c:pt idx="169">
                  <c:v>873</c:v>
                </c:pt>
                <c:pt idx="170">
                  <c:v>814</c:v>
                </c:pt>
                <c:pt idx="171">
                  <c:v>892</c:v>
                </c:pt>
                <c:pt idx="172">
                  <c:v>963</c:v>
                </c:pt>
                <c:pt idx="173">
                  <c:v>1026</c:v>
                </c:pt>
                <c:pt idx="174">
                  <c:v>936</c:v>
                </c:pt>
                <c:pt idx="175">
                  <c:v>944</c:v>
                </c:pt>
                <c:pt idx="176">
                  <c:v>872</c:v>
                </c:pt>
                <c:pt idx="177">
                  <c:v>802</c:v>
                </c:pt>
                <c:pt idx="178">
                  <c:v>873</c:v>
                </c:pt>
                <c:pt idx="179">
                  <c:v>946</c:v>
                </c:pt>
                <c:pt idx="180">
                  <c:v>997</c:v>
                </c:pt>
                <c:pt idx="181">
                  <c:v>910</c:v>
                </c:pt>
                <c:pt idx="182">
                  <c:v>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chart" Target="../charts/char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9306127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82903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1616057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7304671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5. 3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3. 2022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3. 2022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3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3. 2022</a:t>
            </a:r>
          </a:p>
        </p:txBody>
      </p:sp>
    </p:spTree>
    <p:extLst>
      <p:ext uri="{BB962C8B-B14F-4D97-AF65-F5344CB8AC3E}">
        <p14:creationId xmlns:p14="http://schemas.microsoft.com/office/powerpoint/2010/main" val="4257834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3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61983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5DDF421-5C27-4BF3-BEBF-B83961865B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873338"/>
              </p:ext>
            </p:extLst>
          </p:nvPr>
        </p:nvGraphicFramePr>
        <p:xfrm>
          <a:off x="1943095" y="1600986"/>
          <a:ext cx="9946013" cy="45457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15782791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735994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87551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08493879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0618454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2967948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115940426"/>
                    </a:ext>
                  </a:extLst>
                </a:gridCol>
              </a:tblGrid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3903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46382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63906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790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06560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5266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147979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60470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563198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15185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870794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422443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19110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012"/>
                  </a:ext>
                </a:extLst>
              </a:tr>
              <a:tr h="30305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24037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3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050285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6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3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0 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 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8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5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68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5 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23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3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836583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45310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3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535531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5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7 (8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6 (7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 (19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63612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63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515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5805E9EC-E655-4B20-A83B-650DEBC70E8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520869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54ADEF20-0242-4B2A-82B3-A29411082F5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989120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CAEA37F2-BCA1-4D85-8F14-9462E45C90D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701057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4984972-9D6A-4877-8DE8-FBF3B92389A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822823" y="3589127"/>
            <a:ext cx="1218557" cy="1335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6709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03382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001850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32533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CE2AD01D-2A33-4212-BCDA-6A43393482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520869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B460F6E-CA76-4CB2-B061-A36DC26F8E7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989120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3361F116-9E9B-4409-B740-492DD4C2313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701057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614401DC-CBA6-4E18-BA2D-3D4430CCB81C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9822823" y="3589127"/>
            <a:ext cx="1218557" cy="1335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0185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605103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246328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C637EE0E-CC32-4B70-843A-4D31C824F3C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606594" y="4616140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942E95DE-F529-4F65-A239-34F79F11C49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074845" y="4615036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BB6FD719-8DB5-4B50-AF18-C618CD909C9A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786782" y="3248025"/>
            <a:ext cx="633443" cy="1669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4CAFB9D5-B1D6-40DE-B1B6-FC609FB6DA6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194291" y="3429000"/>
            <a:ext cx="932814" cy="1276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7603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336809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38626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8 % (jen ZP skutečně aktivní ve zdravotnictví). Roste i proočkovanost posilující dávkou. Z pracovníků, kteří na ni mají (časově) nárok, ji dosud absolvovalo 88,5 % lékařů, 79,3 % sester a 75,4 % ostatních NLZP (celkem 80,0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2.–2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2.–4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3.–11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3.–18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3.–25. 3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3EA275A-AED8-4AC1-A3BE-40FD2F22FC0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606594" y="4835215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780B3F2B-E90C-4C5E-BE10-87F0A93C704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074845" y="4834111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D6C52D2E-34C7-48C2-95AB-FA26F6B6D48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8786782" y="3589127"/>
            <a:ext cx="671543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0D53CAD-FD50-477D-83CC-DCBAB9CF514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106025" y="3514725"/>
            <a:ext cx="1021080" cy="14103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61427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4648B68-8722-4746-9965-B7AF7B57714E}"/>
              </a:ext>
            </a:extLst>
          </p:cNvPr>
          <p:cNvGraphicFramePr>
            <a:graphicFrameLocks noGrp="1"/>
          </p:cNvGraphicFramePr>
          <p:nvPr/>
        </p:nvGraphicFramePr>
        <p:xfrm>
          <a:off x="2342416" y="2260656"/>
          <a:ext cx="9276168" cy="3621360"/>
        </p:xfrm>
        <a:graphic>
          <a:graphicData uri="http://schemas.openxmlformats.org/drawingml/2006/table">
            <a:tbl>
              <a:tblPr/>
              <a:tblGrid>
                <a:gridCol w="773014">
                  <a:extLst>
                    <a:ext uri="{9D8B030D-6E8A-4147-A177-3AD203B41FA5}">
                      <a16:colId xmlns:a16="http://schemas.microsoft.com/office/drawing/2014/main" val="2211382071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164615775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16085821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16301777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625832791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4136316990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494846033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739147727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76918501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2762373499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344193525"/>
                    </a:ext>
                  </a:extLst>
                </a:gridCol>
                <a:gridCol w="773014">
                  <a:extLst>
                    <a:ext uri="{9D8B030D-6E8A-4147-A177-3AD203B41FA5}">
                      <a16:colId xmlns:a16="http://schemas.microsoft.com/office/drawing/2014/main" val="1798911992"/>
                    </a:ext>
                  </a:extLst>
                </a:gridCol>
              </a:tblGrid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486469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88992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637414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192913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94694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550928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696970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41020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75224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C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436536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63855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101597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777465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588371"/>
                  </a:ext>
                </a:extLst>
              </a:tr>
              <a:tr h="241424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966559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3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4968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DB4E7BD-6ED1-43EF-819A-10A4575B881A}"/>
              </a:ext>
            </a:extLst>
          </p:cNvPr>
          <p:cNvGraphicFramePr>
            <a:graphicFrameLocks noGrp="1"/>
          </p:cNvGraphicFramePr>
          <p:nvPr/>
        </p:nvGraphicFramePr>
        <p:xfrm>
          <a:off x="3787228" y="1996276"/>
          <a:ext cx="7347932" cy="3996645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3098640068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051801552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569475860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3804957220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19851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57011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03398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59000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4461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983897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136052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55292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03108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81809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27068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85402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09724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34597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9452752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9 / 10 / 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109 / 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68 / 2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 (236 / 20 / 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3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31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0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64 / 10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9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7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57 / 6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0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6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55 / 7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6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4 / 2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5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28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0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53 / 10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3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7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2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49 / 4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-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1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0 / 5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9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60 / 8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1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68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3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138 / 10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7 / 4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0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49 / 6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- / 6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1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8 / 9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5 / 7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8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72 / 13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175 / 53 / 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 (441 / 55 / 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 (294 / 3 / 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7 (910 / 111 / 7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9. 3. – 25. 3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16088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44AD380-DFAE-4F80-9736-9CB8B833DEA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54205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6225226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43971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273399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2533" y="5675852"/>
            <a:ext cx="11499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316CE1F9-FF0D-46C3-8234-4B87BF66C88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2144788"/>
              </p:ext>
            </p:extLst>
          </p:nvPr>
        </p:nvGraphicFramePr>
        <p:xfrm>
          <a:off x="674256" y="377523"/>
          <a:ext cx="11145281" cy="5165892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6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4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0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6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3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5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9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9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5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6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4.8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7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2.7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6.8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 (neuzavřeno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1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.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3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928031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88D59402-44A7-484E-A9FC-6E0E986A6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50588" y="432861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5.3. 2022</a:t>
            </a:r>
          </a:p>
        </p:txBody>
      </p:sp>
    </p:spTree>
    <p:extLst>
      <p:ext uri="{BB962C8B-B14F-4D97-AF65-F5344CB8AC3E}">
        <p14:creationId xmlns:p14="http://schemas.microsoft.com/office/powerpoint/2010/main" val="37375245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5. 3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175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1482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6921575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079476"/>
              </p:ext>
            </p:ext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423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007354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5 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3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3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635146"/>
              </p:ext>
            </p:extLst>
          </p:nvPr>
        </p:nvGraphicFramePr>
        <p:xfrm>
          <a:off x="356587" y="1390934"/>
          <a:ext cx="11130563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1546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4729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018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2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5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5. 3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3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9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5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/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81 (8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327 (7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2 (1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(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 (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4 (8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415 (8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027 (6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90 (2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9 (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62 (6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154 (8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26 (56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08 (24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0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7 (1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86 (8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2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3 (5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4 (2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 (10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 (9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 (5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4 (2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3 (1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(7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01 (82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14 (5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34 (24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4 (1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 (7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 (8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5 (67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 (19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(5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9 (7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8 (5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9 (24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3 (1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1 (8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9 (57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6 (24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0 (1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 (6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2 (8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57 (5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48 (2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4 (1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1 (8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650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6 780 (62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1 570 (2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300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 854 (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 572 (7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903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3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/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/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877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79</TotalTime>
  <Words>9483</Words>
  <Application>Microsoft Office PowerPoint</Application>
  <PresentationFormat>Širokoúhlá obrazovka</PresentationFormat>
  <Paragraphs>2118</Paragraphs>
  <Slides>38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8</vt:i4>
      </vt:variant>
    </vt:vector>
  </HeadingPairs>
  <TitlesOfParts>
    <vt:vector size="44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3/2022</vt:lpstr>
      <vt:lpstr>Přehled povolání u COVID-19 pozitivních ostatních zdravotnických pracovníků za období 10/2021 – 03/2022</vt:lpstr>
      <vt:lpstr>Přehled povolání u COVID-19 pozitivních ostatních zdravotnických pracovníků za období 01-03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79</cp:revision>
  <dcterms:created xsi:type="dcterms:W3CDTF">2020-11-11T17:36:28Z</dcterms:created>
  <dcterms:modified xsi:type="dcterms:W3CDTF">2022-03-27T10:57:50Z</dcterms:modified>
</cp:coreProperties>
</file>